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5"/>
  </p:notesMasterIdLst>
  <p:sldIdLst>
    <p:sldId id="256" r:id="rId2"/>
    <p:sldId id="257" r:id="rId3"/>
    <p:sldId id="258" r:id="rId4"/>
    <p:sldId id="259" r:id="rId5"/>
    <p:sldId id="260" r:id="rId6"/>
    <p:sldId id="266" r:id="rId7"/>
    <p:sldId id="261" r:id="rId8"/>
    <p:sldId id="262" r:id="rId9"/>
    <p:sldId id="263" r:id="rId10"/>
    <p:sldId id="264" r:id="rId11"/>
    <p:sldId id="265" r:id="rId12"/>
    <p:sldId id="267" r:id="rId13"/>
    <p:sldId id="268" r:id="rId14"/>
  </p:sldIdLst>
  <p:sldSz cx="9144000" cy="5715000" type="screen16x1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00">
          <p15:clr>
            <a:srgbClr val="A4A3A4"/>
          </p15:clr>
        </p15:guide>
        <p15:guide id="2" pos="2880">
          <p15:clr>
            <a:srgbClr val="A4A3A4"/>
          </p15:clr>
        </p15:guide>
      </p15:sldGuideLst>
    </p:ext>
    <p:ext uri="{505F2C04-C923-438B-8C0F-E0CD2BADF298}">
      <wppc:fontMiss xmlns:wppc="http://www.wps.cn/officeDocument/PresentationCustomData" xmlns="" type="true"/>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p:cViewPr varScale="1">
        <p:scale>
          <a:sx n="136" d="100"/>
          <a:sy n="136" d="100"/>
        </p:scale>
        <p:origin x="894" y="108"/>
      </p:cViewPr>
      <p:guideLst>
        <p:guide orient="horz" pos="1800"/>
        <p:guide pos="2880"/>
      </p:guideLst>
    </p:cSldViewPr>
  </p:slideViewPr>
  <p:notesTextViewPr>
    <p:cViewPr>
      <p:scale>
        <a:sx n="100" d="100"/>
        <a:sy n="100" d="100"/>
      </p:scale>
      <p:origin x="0" y="0"/>
    </p:cViewPr>
  </p:notesTextViewPr>
  <p:sorterViewPr>
    <p:cViewPr>
      <p:scale>
        <a:sx n="125" d="100"/>
        <a:sy n="12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EC6523B-C2FA-46DC-8B49-D9D14D3D1CBC}"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85800" y="685800"/>
            <a:ext cx="54864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939948-57E5-40DD-AA68-0CDF81889CE6}"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a:t>亮亮图文旗舰店</a:t>
            </a:r>
            <a:r>
              <a:rPr lang="en-US" altLang="zh-CN"/>
              <a:t>https://liangliangtuwen.tmall.com</a:t>
            </a:r>
          </a:p>
          <a:p>
            <a:endParaRPr lang="zh-CN" altLang="en-US"/>
          </a:p>
        </p:txBody>
      </p:sp>
      <p:sp>
        <p:nvSpPr>
          <p:cNvPr id="4" name="灯片编号占位符 3"/>
          <p:cNvSpPr>
            <a:spLocks noGrp="1"/>
          </p:cNvSpPr>
          <p:nvPr>
            <p:ph type="sldNum" sz="quarter" idx="10"/>
          </p:nvPr>
        </p:nvSpPr>
        <p:spPr/>
        <p:txBody>
          <a:bodyPr/>
          <a:lstStyle/>
          <a:p>
            <a:fld id="{A1939948-57E5-40DD-AA68-0CDF81889CE6}" type="slidenum">
              <a:rPr lang="zh-CN" altLang="en-US" smtClean="0"/>
              <a:t>13</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775355"/>
            <a:ext cx="7772400" cy="1225021"/>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371600" y="3238500"/>
            <a:ext cx="6400800" cy="14605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5" name="页脚占位符 4"/>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457200" y="1333500"/>
            <a:ext cx="8229600" cy="3771636"/>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5" name="页脚占位符 4"/>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28865"/>
            <a:ext cx="2057400" cy="4876271"/>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28865"/>
            <a:ext cx="6019800" cy="4876271"/>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5" name="页脚占位符 4"/>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457200" y="1333500"/>
            <a:ext cx="8229600" cy="3771636"/>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5" name="页脚占位符 4"/>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2417"/>
            <a:ext cx="7772400" cy="1135063"/>
          </a:xfrm>
          <a:prstGeom prst="rect">
            <a:avLst/>
          </a:prstGeo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422261"/>
            <a:ext cx="7772400" cy="1250156"/>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5" name="页脚占位符 4"/>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457200" y="1333500"/>
            <a:ext cx="4038600" cy="377163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333500"/>
            <a:ext cx="4038600" cy="377163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6" name="页脚占位符 5"/>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279261"/>
            <a:ext cx="4040188" cy="53313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812396"/>
            <a:ext cx="4040188" cy="329274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279261"/>
            <a:ext cx="4041775" cy="53313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1812396"/>
            <a:ext cx="4041775" cy="329274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8" name="页脚占位符 7"/>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4" name="页脚占位符 3"/>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3" name="页脚占位符 2"/>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27542"/>
            <a:ext cx="3008313" cy="968375"/>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27542"/>
            <a:ext cx="5111750" cy="4877594"/>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195917"/>
            <a:ext cx="3008313" cy="3909219"/>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6" name="页脚占位符 5"/>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000500"/>
            <a:ext cx="5486400" cy="472282"/>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510646"/>
            <a:ext cx="5486400" cy="34290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472782"/>
            <a:ext cx="5486400" cy="67071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5296959"/>
            <a:ext cx="2133600" cy="304271"/>
          </a:xfrm>
          <a:prstGeom prst="rect">
            <a:avLst/>
          </a:prstGeom>
        </p:spPr>
        <p:txBody>
          <a:bodyPr/>
          <a:lstStyle/>
          <a:p>
            <a:fld id="{530820CF-B880-4189-942D-D702A7CBA730}" type="datetimeFigureOut">
              <a:rPr lang="zh-CN" altLang="en-US" smtClean="0"/>
              <a:t>2021/1/5</a:t>
            </a:fld>
            <a:endParaRPr lang="zh-CN" altLang="en-US"/>
          </a:p>
        </p:txBody>
      </p:sp>
      <p:sp>
        <p:nvSpPr>
          <p:cNvPr id="6" name="页脚占位符 5"/>
          <p:cNvSpPr>
            <a:spLocks noGrp="1"/>
          </p:cNvSpPr>
          <p:nvPr>
            <p:ph type="ftr" sz="quarter" idx="11"/>
          </p:nvPr>
        </p:nvSpPr>
        <p:spPr>
          <a:xfrm>
            <a:off x="3124200" y="5296959"/>
            <a:ext cx="2895600" cy="304271"/>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5296959"/>
            <a:ext cx="2133600" cy="304271"/>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rotWithShape="1">
          <a:blip r:embed="rId13" cstate="print">
            <a:extLst>
              <a:ext uri="{BEBA8EAE-BF5A-486C-A8C5-ECC9F3942E4B}">
                <a14:imgProps xmlns:a14="http://schemas.microsoft.com/office/drawing/2010/main">
                  <a14:imgLayer r:embed="rId14">
                    <a14:imgEffect>
                      <a14:brightnessContrast contrast="40000"/>
                    </a14:imgEffect>
                  </a14:imgLayer>
                </a14:imgProps>
              </a:ext>
              <a:ext uri="{28A0092B-C50C-407E-A947-70E740481C1C}">
                <a14:useLocalDpi xmlns:a14="http://schemas.microsoft.com/office/drawing/2010/main" val="0"/>
              </a:ext>
            </a:extLst>
          </a:blip>
          <a:srcRect l="1419" r="1572"/>
          <a:stretch>
            <a:fillRect/>
          </a:stretch>
        </p:blipFill>
        <p:spPr bwMode="auto">
          <a:xfrm>
            <a:off x="3522" y="0"/>
            <a:ext cx="9144876" cy="571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矩形 6"/>
          <p:cNvSpPr/>
          <p:nvPr userDrawn="1"/>
        </p:nvSpPr>
        <p:spPr>
          <a:xfrm flipV="1">
            <a:off x="0" y="589247"/>
            <a:ext cx="9144000" cy="4571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4"/>
          <p:cNvSpPr/>
          <p:nvPr userDrawn="1"/>
        </p:nvSpPr>
        <p:spPr>
          <a:xfrm>
            <a:off x="6516216" y="265212"/>
            <a:ext cx="2627784" cy="324036"/>
          </a:xfrm>
          <a:custGeom>
            <a:avLst/>
            <a:gdLst>
              <a:gd name="connsiteX0" fmla="*/ 0 w 6687380"/>
              <a:gd name="connsiteY0" fmla="*/ 0 h 936104"/>
              <a:gd name="connsiteX1" fmla="*/ 6687380 w 6687380"/>
              <a:gd name="connsiteY1" fmla="*/ 0 h 936104"/>
              <a:gd name="connsiteX2" fmla="*/ 6687380 w 6687380"/>
              <a:gd name="connsiteY2" fmla="*/ 936104 h 936104"/>
              <a:gd name="connsiteX3" fmla="*/ 0 w 6687380"/>
              <a:gd name="connsiteY3" fmla="*/ 936104 h 936104"/>
              <a:gd name="connsiteX4" fmla="*/ 0 w 6687380"/>
              <a:gd name="connsiteY4" fmla="*/ 0 h 936104"/>
              <a:gd name="connsiteX0-1" fmla="*/ 309282 w 6687380"/>
              <a:gd name="connsiteY0-2" fmla="*/ 0 h 936104"/>
              <a:gd name="connsiteX1-3" fmla="*/ 6687380 w 6687380"/>
              <a:gd name="connsiteY1-4" fmla="*/ 0 h 936104"/>
              <a:gd name="connsiteX2-5" fmla="*/ 6687380 w 6687380"/>
              <a:gd name="connsiteY2-6" fmla="*/ 936104 h 936104"/>
              <a:gd name="connsiteX3-7" fmla="*/ 0 w 6687380"/>
              <a:gd name="connsiteY3-8" fmla="*/ 936104 h 936104"/>
              <a:gd name="connsiteX4-9" fmla="*/ 309282 w 6687380"/>
              <a:gd name="connsiteY4-10" fmla="*/ 0 h 93610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687380" h="936104">
                <a:moveTo>
                  <a:pt x="309282" y="0"/>
                </a:moveTo>
                <a:lnTo>
                  <a:pt x="6687380" y="0"/>
                </a:lnTo>
                <a:lnTo>
                  <a:pt x="6687380" y="936104"/>
                </a:lnTo>
                <a:lnTo>
                  <a:pt x="0" y="936104"/>
                </a:lnTo>
                <a:lnTo>
                  <a:pt x="309282" y="0"/>
                </a:lnTo>
                <a:close/>
              </a:path>
            </a:pathLst>
          </a:custGeom>
          <a:solidFill>
            <a:srgbClr val="00B0F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p:cNvSpPr txBox="1"/>
          <p:nvPr userDrawn="1"/>
        </p:nvSpPr>
        <p:spPr>
          <a:xfrm>
            <a:off x="6804248" y="288730"/>
            <a:ext cx="2339753" cy="307777"/>
          </a:xfrm>
          <a:prstGeom prst="rect">
            <a:avLst/>
          </a:prstGeom>
          <a:noFill/>
        </p:spPr>
        <p:txBody>
          <a:bodyPr wrap="square" rtlCol="0">
            <a:spAutoFit/>
          </a:bodyPr>
          <a:lstStyle/>
          <a:p>
            <a:r>
              <a:rPr lang="zh-CN" altLang="en-US" sz="1400" spc="600" dirty="0">
                <a:solidFill>
                  <a:schemeClr val="bg1"/>
                </a:solidFill>
                <a:latin typeface=".黑体-日本语" panose="03000509000000000000" pitchFamily="65" charset="-122"/>
                <a:ea typeface=".黑体-日本语" panose="03000509000000000000" pitchFamily="65" charset="-122"/>
                <a:cs typeface=".黑体-日本语" panose="03000509000000000000" pitchFamily="65" charset="-122"/>
              </a:rPr>
              <a:t>简介商务总结模板</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2" cstate="print">
            <a:extLst>
              <a:ext uri="{28A0092B-C50C-407E-A947-70E740481C1C}">
                <a14:useLocalDpi xmlns:a14="http://schemas.microsoft.com/office/drawing/2010/main" val="0"/>
              </a:ext>
            </a:extLst>
          </a:blip>
          <a:srcRect b="7067"/>
          <a:stretch>
            <a:fillRect/>
          </a:stretch>
        </p:blipFill>
        <p:spPr>
          <a:xfrm>
            <a:off x="0" y="0"/>
            <a:ext cx="9243157" cy="5737820"/>
          </a:xfrm>
          <a:prstGeom prst="rect">
            <a:avLst/>
          </a:prstGeom>
        </p:spPr>
      </p:pic>
      <p:sp>
        <p:nvSpPr>
          <p:cNvPr id="4" name="矩形 3"/>
          <p:cNvSpPr/>
          <p:nvPr/>
        </p:nvSpPr>
        <p:spPr>
          <a:xfrm>
            <a:off x="0" y="3649588"/>
            <a:ext cx="9243158" cy="28803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2555777" y="2785492"/>
            <a:ext cx="6687380" cy="936104"/>
          </a:xfrm>
          <a:custGeom>
            <a:avLst/>
            <a:gdLst>
              <a:gd name="connsiteX0" fmla="*/ 0 w 6687380"/>
              <a:gd name="connsiteY0" fmla="*/ 0 h 936104"/>
              <a:gd name="connsiteX1" fmla="*/ 6687380 w 6687380"/>
              <a:gd name="connsiteY1" fmla="*/ 0 h 936104"/>
              <a:gd name="connsiteX2" fmla="*/ 6687380 w 6687380"/>
              <a:gd name="connsiteY2" fmla="*/ 936104 h 936104"/>
              <a:gd name="connsiteX3" fmla="*/ 0 w 6687380"/>
              <a:gd name="connsiteY3" fmla="*/ 936104 h 936104"/>
              <a:gd name="connsiteX4" fmla="*/ 0 w 6687380"/>
              <a:gd name="connsiteY4" fmla="*/ 0 h 936104"/>
              <a:gd name="connsiteX0-1" fmla="*/ 309282 w 6687380"/>
              <a:gd name="connsiteY0-2" fmla="*/ 0 h 936104"/>
              <a:gd name="connsiteX1-3" fmla="*/ 6687380 w 6687380"/>
              <a:gd name="connsiteY1-4" fmla="*/ 0 h 936104"/>
              <a:gd name="connsiteX2-5" fmla="*/ 6687380 w 6687380"/>
              <a:gd name="connsiteY2-6" fmla="*/ 936104 h 936104"/>
              <a:gd name="connsiteX3-7" fmla="*/ 0 w 6687380"/>
              <a:gd name="connsiteY3-8" fmla="*/ 936104 h 936104"/>
              <a:gd name="connsiteX4-9" fmla="*/ 309282 w 6687380"/>
              <a:gd name="connsiteY4-10" fmla="*/ 0 h 93610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687380" h="936104">
                <a:moveTo>
                  <a:pt x="309282" y="0"/>
                </a:moveTo>
                <a:lnTo>
                  <a:pt x="6687380" y="0"/>
                </a:lnTo>
                <a:lnTo>
                  <a:pt x="6687380" y="936104"/>
                </a:lnTo>
                <a:lnTo>
                  <a:pt x="0" y="936104"/>
                </a:lnTo>
                <a:lnTo>
                  <a:pt x="309282" y="0"/>
                </a:lnTo>
                <a:close/>
              </a:path>
            </a:pathLst>
          </a:custGeom>
          <a:solidFill>
            <a:srgbClr val="00B0F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3707904" y="2857500"/>
            <a:ext cx="4973233" cy="769441"/>
          </a:xfrm>
          <a:prstGeom prst="rect">
            <a:avLst/>
          </a:prstGeom>
          <a:noFill/>
        </p:spPr>
        <p:txBody>
          <a:bodyPr wrap="square" rtlCol="0">
            <a:spAutoFit/>
          </a:bodyPr>
          <a:lstStyle/>
          <a:p>
            <a:r>
              <a:rPr lang="zh-CN" altLang="en-US" sz="4400" dirty="0">
                <a:solidFill>
                  <a:schemeClr val="bg1"/>
                </a:solidFill>
                <a:latin typeface="方正大黑简体" panose="02010601030101010101" pitchFamily="2" charset="-122"/>
                <a:ea typeface="方正大黑简体" panose="02010601030101010101" pitchFamily="2" charset="-122"/>
              </a:rPr>
              <a:t>简洁商务总结模板</a:t>
            </a:r>
          </a:p>
        </p:txBody>
      </p:sp>
      <p:sp>
        <p:nvSpPr>
          <p:cNvPr id="8" name="文本框 7"/>
          <p:cNvSpPr txBox="1"/>
          <p:nvPr/>
        </p:nvSpPr>
        <p:spPr>
          <a:xfrm>
            <a:off x="467544" y="193204"/>
            <a:ext cx="1944217" cy="523220"/>
          </a:xfrm>
          <a:prstGeom prst="rect">
            <a:avLst/>
          </a:prstGeom>
          <a:noFill/>
        </p:spPr>
        <p:txBody>
          <a:bodyPr wrap="square" rtlCol="0">
            <a:spAutoFit/>
          </a:bodyPr>
          <a:lstStyle/>
          <a:p>
            <a:r>
              <a:rPr lang="en-US" altLang="zh-CN" sz="2800" dirty="0"/>
              <a:t>LOGO</a:t>
            </a:r>
            <a:endParaRPr lang="zh-CN" altLang="en-US" sz="2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1+#ppt_w/2"/>
                                          </p:val>
                                        </p:tav>
                                        <p:tav tm="100000">
                                          <p:val>
                                            <p:strVal val="#ppt_x"/>
                                          </p:val>
                                        </p:tav>
                                      </p:tavLst>
                                    </p:anim>
                                    <p:anim calcmode="lin" valueType="num">
                                      <p:cBhvr additive="base">
                                        <p:cTn id="16" dur="500" fill="hold"/>
                                        <p:tgtEl>
                                          <p:spTgt spid="4"/>
                                        </p:tgtEl>
                                        <p:attrNameLst>
                                          <p:attrName>ppt_y</p:attrName>
                                        </p:attrNameLst>
                                      </p:cBhvr>
                                      <p:tavLst>
                                        <p:tav tm="0">
                                          <p:val>
                                            <p:strVal val="#ppt_y"/>
                                          </p:val>
                                        </p:tav>
                                        <p:tav tm="100000">
                                          <p:val>
                                            <p:strVal val="#ppt_y"/>
                                          </p:val>
                                        </p:tav>
                                      </p:tavLst>
                                    </p:anim>
                                  </p:childTnLst>
                                </p:cTn>
                              </p:par>
                            </p:childTnLst>
                          </p:cTn>
                        </p:par>
                        <p:par>
                          <p:cTn id="17" fill="hold">
                            <p:stCondLst>
                              <p:cond delay="1000"/>
                            </p:stCondLst>
                            <p:childTnLst>
                              <p:par>
                                <p:cTn id="18" presetID="42" presetClass="entr" presetSubtype="0"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anim calcmode="lin" valueType="num">
                                      <p:cBhvr>
                                        <p:cTn id="21" dur="500" fill="hold"/>
                                        <p:tgtEl>
                                          <p:spTgt spid="7"/>
                                        </p:tgtEl>
                                        <p:attrNameLst>
                                          <p:attrName>ppt_x</p:attrName>
                                        </p:attrNameLst>
                                      </p:cBhvr>
                                      <p:tavLst>
                                        <p:tav tm="0">
                                          <p:val>
                                            <p:strVal val="#ppt_x"/>
                                          </p:val>
                                        </p:tav>
                                        <p:tav tm="100000">
                                          <p:val>
                                            <p:strVal val="#ppt_x"/>
                                          </p:val>
                                        </p:tav>
                                      </p:tavLst>
                                    </p:anim>
                                    <p:anim calcmode="lin" valueType="num">
                                      <p:cBhvr>
                                        <p:cTn id="22"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sp>
        <p:nvSpPr>
          <p:cNvPr id="49" name="Freeform 5"/>
          <p:cNvSpPr/>
          <p:nvPr/>
        </p:nvSpPr>
        <p:spPr bwMode="auto">
          <a:xfrm>
            <a:off x="5190794" y="1527175"/>
            <a:ext cx="49213" cy="28575"/>
          </a:xfrm>
          <a:custGeom>
            <a:avLst/>
            <a:gdLst>
              <a:gd name="T0" fmla="*/ 2 w 5"/>
              <a:gd name="T1" fmla="*/ 0 h 3"/>
              <a:gd name="T2" fmla="*/ 3 w 5"/>
              <a:gd name="T3" fmla="*/ 1 h 3"/>
              <a:gd name="T4" fmla="*/ 4 w 5"/>
              <a:gd name="T5" fmla="*/ 3 h 3"/>
              <a:gd name="T6" fmla="*/ 1 w 5"/>
              <a:gd name="T7" fmla="*/ 2 h 3"/>
              <a:gd name="T8" fmla="*/ 2 w 5"/>
              <a:gd name="T9" fmla="*/ 0 h 3"/>
            </a:gdLst>
            <a:ahLst/>
            <a:cxnLst>
              <a:cxn ang="0">
                <a:pos x="T0" y="T1"/>
              </a:cxn>
              <a:cxn ang="0">
                <a:pos x="T2" y="T3"/>
              </a:cxn>
              <a:cxn ang="0">
                <a:pos x="T4" y="T5"/>
              </a:cxn>
              <a:cxn ang="0">
                <a:pos x="T6" y="T7"/>
              </a:cxn>
              <a:cxn ang="0">
                <a:pos x="T8" y="T9"/>
              </a:cxn>
            </a:cxnLst>
            <a:rect l="0" t="0" r="r" b="b"/>
            <a:pathLst>
              <a:path w="5" h="3">
                <a:moveTo>
                  <a:pt x="2" y="0"/>
                </a:moveTo>
                <a:cubicBezTo>
                  <a:pt x="3" y="0"/>
                  <a:pt x="3" y="1"/>
                  <a:pt x="3" y="1"/>
                </a:cubicBezTo>
                <a:cubicBezTo>
                  <a:pt x="3" y="2"/>
                  <a:pt x="5" y="2"/>
                  <a:pt x="4" y="3"/>
                </a:cubicBezTo>
                <a:cubicBezTo>
                  <a:pt x="2" y="3"/>
                  <a:pt x="3" y="1"/>
                  <a:pt x="1" y="2"/>
                </a:cubicBezTo>
                <a:cubicBezTo>
                  <a:pt x="0" y="1"/>
                  <a:pt x="3" y="2"/>
                  <a:pt x="2"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0" name="Freeform 6"/>
          <p:cNvSpPr/>
          <p:nvPr/>
        </p:nvSpPr>
        <p:spPr bwMode="auto">
          <a:xfrm>
            <a:off x="5892469" y="1527175"/>
            <a:ext cx="98425" cy="49212"/>
          </a:xfrm>
          <a:custGeom>
            <a:avLst/>
            <a:gdLst>
              <a:gd name="T0" fmla="*/ 9 w 10"/>
              <a:gd name="T1" fmla="*/ 4 h 5"/>
              <a:gd name="T2" fmla="*/ 6 w 10"/>
              <a:gd name="T3" fmla="*/ 5 h 5"/>
              <a:gd name="T4" fmla="*/ 1 w 10"/>
              <a:gd name="T5" fmla="*/ 5 h 5"/>
              <a:gd name="T6" fmla="*/ 0 w 10"/>
              <a:gd name="T7" fmla="*/ 4 h 5"/>
              <a:gd name="T8" fmla="*/ 7 w 10"/>
              <a:gd name="T9" fmla="*/ 0 h 5"/>
              <a:gd name="T10" fmla="*/ 9 w 10"/>
              <a:gd name="T11" fmla="*/ 1 h 5"/>
              <a:gd name="T12" fmla="*/ 8 w 10"/>
              <a:gd name="T13" fmla="*/ 2 h 5"/>
              <a:gd name="T14" fmla="*/ 9 w 10"/>
              <a:gd name="T15" fmla="*/ 4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5">
                <a:moveTo>
                  <a:pt x="9" y="4"/>
                </a:moveTo>
                <a:cubicBezTo>
                  <a:pt x="8" y="4"/>
                  <a:pt x="6" y="4"/>
                  <a:pt x="6" y="5"/>
                </a:cubicBezTo>
                <a:cubicBezTo>
                  <a:pt x="5" y="4"/>
                  <a:pt x="3" y="5"/>
                  <a:pt x="1" y="5"/>
                </a:cubicBezTo>
                <a:cubicBezTo>
                  <a:pt x="1" y="4"/>
                  <a:pt x="1" y="4"/>
                  <a:pt x="0" y="4"/>
                </a:cubicBezTo>
                <a:cubicBezTo>
                  <a:pt x="1" y="1"/>
                  <a:pt x="4" y="0"/>
                  <a:pt x="7" y="0"/>
                </a:cubicBezTo>
                <a:cubicBezTo>
                  <a:pt x="7" y="2"/>
                  <a:pt x="9" y="1"/>
                  <a:pt x="9" y="1"/>
                </a:cubicBezTo>
                <a:cubicBezTo>
                  <a:pt x="9" y="2"/>
                  <a:pt x="8" y="2"/>
                  <a:pt x="8" y="2"/>
                </a:cubicBezTo>
                <a:cubicBezTo>
                  <a:pt x="8" y="2"/>
                  <a:pt x="10" y="2"/>
                  <a:pt x="9" y="4"/>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1" name="Freeform 7"/>
          <p:cNvSpPr/>
          <p:nvPr/>
        </p:nvSpPr>
        <p:spPr bwMode="auto">
          <a:xfrm>
            <a:off x="5338432" y="1536700"/>
            <a:ext cx="49213" cy="30162"/>
          </a:xfrm>
          <a:custGeom>
            <a:avLst/>
            <a:gdLst>
              <a:gd name="T0" fmla="*/ 5 w 5"/>
              <a:gd name="T1" fmla="*/ 0 h 3"/>
              <a:gd name="T2" fmla="*/ 5 w 5"/>
              <a:gd name="T3" fmla="*/ 2 h 3"/>
              <a:gd name="T4" fmla="*/ 3 w 5"/>
              <a:gd name="T5" fmla="*/ 3 h 3"/>
              <a:gd name="T6" fmla="*/ 0 w 5"/>
              <a:gd name="T7" fmla="*/ 1 h 3"/>
              <a:gd name="T8" fmla="*/ 3 w 5"/>
              <a:gd name="T9" fmla="*/ 1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cubicBezTo>
                  <a:pt x="5" y="1"/>
                  <a:pt x="5" y="1"/>
                  <a:pt x="5" y="2"/>
                </a:cubicBezTo>
                <a:cubicBezTo>
                  <a:pt x="4" y="2"/>
                  <a:pt x="3" y="2"/>
                  <a:pt x="3" y="3"/>
                </a:cubicBezTo>
                <a:cubicBezTo>
                  <a:pt x="2" y="2"/>
                  <a:pt x="0" y="3"/>
                  <a:pt x="0" y="1"/>
                </a:cubicBezTo>
                <a:cubicBezTo>
                  <a:pt x="2" y="1"/>
                  <a:pt x="2" y="0"/>
                  <a:pt x="3" y="1"/>
                </a:cubicBezTo>
                <a:cubicBezTo>
                  <a:pt x="4" y="1"/>
                  <a:pt x="4" y="0"/>
                  <a:pt x="5"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2" name="Freeform 8"/>
          <p:cNvSpPr/>
          <p:nvPr/>
        </p:nvSpPr>
        <p:spPr bwMode="auto">
          <a:xfrm>
            <a:off x="5041569" y="1546225"/>
            <a:ext cx="60325" cy="39687"/>
          </a:xfrm>
          <a:custGeom>
            <a:avLst/>
            <a:gdLst>
              <a:gd name="T0" fmla="*/ 6 w 6"/>
              <a:gd name="T1" fmla="*/ 0 h 4"/>
              <a:gd name="T2" fmla="*/ 5 w 6"/>
              <a:gd name="T3" fmla="*/ 2 h 4"/>
              <a:gd name="T4" fmla="*/ 4 w 6"/>
              <a:gd name="T5" fmla="*/ 3 h 4"/>
              <a:gd name="T6" fmla="*/ 3 w 6"/>
              <a:gd name="T7" fmla="*/ 2 h 4"/>
              <a:gd name="T8" fmla="*/ 1 w 6"/>
              <a:gd name="T9" fmla="*/ 3 h 4"/>
              <a:gd name="T10" fmla="*/ 1 w 6"/>
              <a:gd name="T11" fmla="*/ 2 h 4"/>
              <a:gd name="T12" fmla="*/ 3 w 6"/>
              <a:gd name="T13" fmla="*/ 1 h 4"/>
              <a:gd name="T14" fmla="*/ 3 w 6"/>
              <a:gd name="T15" fmla="*/ 1 h 4"/>
              <a:gd name="T16" fmla="*/ 6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6" y="0"/>
                </a:moveTo>
                <a:cubicBezTo>
                  <a:pt x="6" y="1"/>
                  <a:pt x="5" y="1"/>
                  <a:pt x="5" y="2"/>
                </a:cubicBezTo>
                <a:cubicBezTo>
                  <a:pt x="5" y="2"/>
                  <a:pt x="5" y="3"/>
                  <a:pt x="4" y="3"/>
                </a:cubicBezTo>
                <a:cubicBezTo>
                  <a:pt x="3" y="4"/>
                  <a:pt x="3" y="2"/>
                  <a:pt x="3" y="2"/>
                </a:cubicBezTo>
                <a:cubicBezTo>
                  <a:pt x="3" y="2"/>
                  <a:pt x="2" y="3"/>
                  <a:pt x="1" y="3"/>
                </a:cubicBezTo>
                <a:cubicBezTo>
                  <a:pt x="1" y="2"/>
                  <a:pt x="1" y="1"/>
                  <a:pt x="1" y="2"/>
                </a:cubicBezTo>
                <a:cubicBezTo>
                  <a:pt x="0" y="0"/>
                  <a:pt x="2" y="2"/>
                  <a:pt x="3" y="1"/>
                </a:cubicBezTo>
                <a:cubicBezTo>
                  <a:pt x="3" y="1"/>
                  <a:pt x="3" y="1"/>
                  <a:pt x="3" y="1"/>
                </a:cubicBezTo>
                <a:cubicBezTo>
                  <a:pt x="4" y="0"/>
                  <a:pt x="5" y="1"/>
                  <a:pt x="6"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3" name="Freeform 9"/>
          <p:cNvSpPr/>
          <p:nvPr/>
        </p:nvSpPr>
        <p:spPr bwMode="auto">
          <a:xfrm>
            <a:off x="5289219" y="1546225"/>
            <a:ext cx="39688" cy="20637"/>
          </a:xfrm>
          <a:custGeom>
            <a:avLst/>
            <a:gdLst>
              <a:gd name="T0" fmla="*/ 4 w 4"/>
              <a:gd name="T1" fmla="*/ 2 h 2"/>
              <a:gd name="T2" fmla="*/ 0 w 4"/>
              <a:gd name="T3" fmla="*/ 2 h 2"/>
              <a:gd name="T4" fmla="*/ 2 w 4"/>
              <a:gd name="T5" fmla="*/ 0 h 2"/>
              <a:gd name="T6" fmla="*/ 4 w 4"/>
              <a:gd name="T7" fmla="*/ 2 h 2"/>
            </a:gdLst>
            <a:ahLst/>
            <a:cxnLst>
              <a:cxn ang="0">
                <a:pos x="T0" y="T1"/>
              </a:cxn>
              <a:cxn ang="0">
                <a:pos x="T2" y="T3"/>
              </a:cxn>
              <a:cxn ang="0">
                <a:pos x="T4" y="T5"/>
              </a:cxn>
              <a:cxn ang="0">
                <a:pos x="T6" y="T7"/>
              </a:cxn>
            </a:cxnLst>
            <a:rect l="0" t="0" r="r" b="b"/>
            <a:pathLst>
              <a:path w="4" h="2">
                <a:moveTo>
                  <a:pt x="4" y="2"/>
                </a:moveTo>
                <a:cubicBezTo>
                  <a:pt x="3" y="2"/>
                  <a:pt x="2" y="2"/>
                  <a:pt x="0" y="2"/>
                </a:cubicBezTo>
                <a:cubicBezTo>
                  <a:pt x="0" y="0"/>
                  <a:pt x="2" y="1"/>
                  <a:pt x="2" y="0"/>
                </a:cubicBezTo>
                <a:cubicBezTo>
                  <a:pt x="2" y="1"/>
                  <a:pt x="4" y="0"/>
                  <a:pt x="4"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4" name="Freeform 10"/>
          <p:cNvSpPr/>
          <p:nvPr/>
        </p:nvSpPr>
        <p:spPr bwMode="auto">
          <a:xfrm>
            <a:off x="5209844" y="1566863"/>
            <a:ext cx="60325" cy="19050"/>
          </a:xfrm>
          <a:custGeom>
            <a:avLst/>
            <a:gdLst>
              <a:gd name="T0" fmla="*/ 5 w 6"/>
              <a:gd name="T1" fmla="*/ 0 h 2"/>
              <a:gd name="T2" fmla="*/ 5 w 6"/>
              <a:gd name="T3" fmla="*/ 2 h 2"/>
              <a:gd name="T4" fmla="*/ 0 w 6"/>
              <a:gd name="T5" fmla="*/ 1 h 2"/>
              <a:gd name="T6" fmla="*/ 5 w 6"/>
              <a:gd name="T7" fmla="*/ 0 h 2"/>
            </a:gdLst>
            <a:ahLst/>
            <a:cxnLst>
              <a:cxn ang="0">
                <a:pos x="T0" y="T1"/>
              </a:cxn>
              <a:cxn ang="0">
                <a:pos x="T2" y="T3"/>
              </a:cxn>
              <a:cxn ang="0">
                <a:pos x="T4" y="T5"/>
              </a:cxn>
              <a:cxn ang="0">
                <a:pos x="T6" y="T7"/>
              </a:cxn>
            </a:cxnLst>
            <a:rect l="0" t="0" r="r" b="b"/>
            <a:pathLst>
              <a:path w="6" h="2">
                <a:moveTo>
                  <a:pt x="5" y="0"/>
                </a:moveTo>
                <a:cubicBezTo>
                  <a:pt x="6" y="1"/>
                  <a:pt x="4" y="1"/>
                  <a:pt x="5" y="2"/>
                </a:cubicBezTo>
                <a:cubicBezTo>
                  <a:pt x="3" y="2"/>
                  <a:pt x="1" y="2"/>
                  <a:pt x="0" y="1"/>
                </a:cubicBezTo>
                <a:cubicBezTo>
                  <a:pt x="1" y="0"/>
                  <a:pt x="4" y="1"/>
                  <a:pt x="5"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5" name="Freeform 11"/>
          <p:cNvSpPr/>
          <p:nvPr/>
        </p:nvSpPr>
        <p:spPr bwMode="auto">
          <a:xfrm>
            <a:off x="2274557" y="1585913"/>
            <a:ext cx="30163" cy="20637"/>
          </a:xfrm>
          <a:custGeom>
            <a:avLst/>
            <a:gdLst>
              <a:gd name="T0" fmla="*/ 1 w 3"/>
              <a:gd name="T1" fmla="*/ 0 h 2"/>
              <a:gd name="T2" fmla="*/ 3 w 3"/>
              <a:gd name="T3" fmla="*/ 2 h 2"/>
              <a:gd name="T4" fmla="*/ 1 w 3"/>
              <a:gd name="T5" fmla="*/ 0 h 2"/>
            </a:gdLst>
            <a:ahLst/>
            <a:cxnLst>
              <a:cxn ang="0">
                <a:pos x="T0" y="T1"/>
              </a:cxn>
              <a:cxn ang="0">
                <a:pos x="T2" y="T3"/>
              </a:cxn>
              <a:cxn ang="0">
                <a:pos x="T4" y="T5"/>
              </a:cxn>
            </a:cxnLst>
            <a:rect l="0" t="0" r="r" b="b"/>
            <a:pathLst>
              <a:path w="3" h="2">
                <a:moveTo>
                  <a:pt x="1" y="0"/>
                </a:moveTo>
                <a:cubicBezTo>
                  <a:pt x="2" y="0"/>
                  <a:pt x="3" y="0"/>
                  <a:pt x="3" y="2"/>
                </a:cubicBezTo>
                <a:cubicBezTo>
                  <a:pt x="2" y="1"/>
                  <a:pt x="0" y="1"/>
                  <a:pt x="1"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6" name="Freeform 12"/>
          <p:cNvSpPr/>
          <p:nvPr/>
        </p:nvSpPr>
        <p:spPr bwMode="auto">
          <a:xfrm>
            <a:off x="5922632" y="1585913"/>
            <a:ext cx="107950" cy="49212"/>
          </a:xfrm>
          <a:custGeom>
            <a:avLst/>
            <a:gdLst>
              <a:gd name="T0" fmla="*/ 10 w 11"/>
              <a:gd name="T1" fmla="*/ 1 h 5"/>
              <a:gd name="T2" fmla="*/ 11 w 11"/>
              <a:gd name="T3" fmla="*/ 3 h 5"/>
              <a:gd name="T4" fmla="*/ 6 w 11"/>
              <a:gd name="T5" fmla="*/ 5 h 5"/>
              <a:gd name="T6" fmla="*/ 5 w 11"/>
              <a:gd name="T7" fmla="*/ 4 h 5"/>
              <a:gd name="T8" fmla="*/ 3 w 11"/>
              <a:gd name="T9" fmla="*/ 4 h 5"/>
              <a:gd name="T10" fmla="*/ 3 w 11"/>
              <a:gd name="T11" fmla="*/ 3 h 5"/>
              <a:gd name="T12" fmla="*/ 2 w 11"/>
              <a:gd name="T13" fmla="*/ 4 h 5"/>
              <a:gd name="T14" fmla="*/ 3 w 11"/>
              <a:gd name="T15" fmla="*/ 3 h 5"/>
              <a:gd name="T16" fmla="*/ 1 w 11"/>
              <a:gd name="T17" fmla="*/ 2 h 5"/>
              <a:gd name="T18" fmla="*/ 2 w 11"/>
              <a:gd name="T19" fmla="*/ 1 h 5"/>
              <a:gd name="T20" fmla="*/ 3 w 11"/>
              <a:gd name="T21" fmla="*/ 0 h 5"/>
              <a:gd name="T22" fmla="*/ 7 w 11"/>
              <a:gd name="T23" fmla="*/ 0 h 5"/>
              <a:gd name="T24" fmla="*/ 7 w 11"/>
              <a:gd name="T25" fmla="*/ 1 h 5"/>
              <a:gd name="T26" fmla="*/ 10 w 11"/>
              <a:gd name="T2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5">
                <a:moveTo>
                  <a:pt x="10" y="1"/>
                </a:moveTo>
                <a:cubicBezTo>
                  <a:pt x="10" y="2"/>
                  <a:pt x="8" y="3"/>
                  <a:pt x="11" y="3"/>
                </a:cubicBezTo>
                <a:cubicBezTo>
                  <a:pt x="11" y="5"/>
                  <a:pt x="8" y="5"/>
                  <a:pt x="6" y="5"/>
                </a:cubicBezTo>
                <a:cubicBezTo>
                  <a:pt x="6" y="5"/>
                  <a:pt x="6" y="5"/>
                  <a:pt x="5" y="4"/>
                </a:cubicBezTo>
                <a:cubicBezTo>
                  <a:pt x="4" y="3"/>
                  <a:pt x="5" y="5"/>
                  <a:pt x="3" y="4"/>
                </a:cubicBezTo>
                <a:cubicBezTo>
                  <a:pt x="3" y="4"/>
                  <a:pt x="4" y="3"/>
                  <a:pt x="3" y="3"/>
                </a:cubicBezTo>
                <a:cubicBezTo>
                  <a:pt x="3" y="3"/>
                  <a:pt x="3" y="4"/>
                  <a:pt x="2" y="4"/>
                </a:cubicBezTo>
                <a:cubicBezTo>
                  <a:pt x="2" y="4"/>
                  <a:pt x="3" y="3"/>
                  <a:pt x="3" y="3"/>
                </a:cubicBezTo>
                <a:cubicBezTo>
                  <a:pt x="2" y="2"/>
                  <a:pt x="0" y="3"/>
                  <a:pt x="1" y="2"/>
                </a:cubicBezTo>
                <a:cubicBezTo>
                  <a:pt x="0" y="1"/>
                  <a:pt x="1" y="2"/>
                  <a:pt x="2" y="1"/>
                </a:cubicBezTo>
                <a:cubicBezTo>
                  <a:pt x="2" y="1"/>
                  <a:pt x="2" y="1"/>
                  <a:pt x="3" y="0"/>
                </a:cubicBezTo>
                <a:cubicBezTo>
                  <a:pt x="3" y="0"/>
                  <a:pt x="5" y="0"/>
                  <a:pt x="7" y="0"/>
                </a:cubicBezTo>
                <a:cubicBezTo>
                  <a:pt x="7" y="0"/>
                  <a:pt x="7" y="1"/>
                  <a:pt x="7" y="1"/>
                </a:cubicBezTo>
                <a:cubicBezTo>
                  <a:pt x="8" y="1"/>
                  <a:pt x="10" y="0"/>
                  <a:pt x="10"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7" name="Freeform 13"/>
          <p:cNvSpPr/>
          <p:nvPr/>
        </p:nvSpPr>
        <p:spPr bwMode="auto">
          <a:xfrm>
            <a:off x="5882944" y="1585913"/>
            <a:ext cx="39688" cy="30162"/>
          </a:xfrm>
          <a:custGeom>
            <a:avLst/>
            <a:gdLst>
              <a:gd name="T0" fmla="*/ 4 w 4"/>
              <a:gd name="T1" fmla="*/ 1 h 3"/>
              <a:gd name="T2" fmla="*/ 3 w 4"/>
              <a:gd name="T3" fmla="*/ 1 h 3"/>
              <a:gd name="T4" fmla="*/ 2 w 4"/>
              <a:gd name="T5" fmla="*/ 2 h 3"/>
              <a:gd name="T6" fmla="*/ 0 w 4"/>
              <a:gd name="T7" fmla="*/ 1 h 3"/>
              <a:gd name="T8" fmla="*/ 4 w 4"/>
              <a:gd name="T9" fmla="*/ 1 h 3"/>
            </a:gdLst>
            <a:ahLst/>
            <a:cxnLst>
              <a:cxn ang="0">
                <a:pos x="T0" y="T1"/>
              </a:cxn>
              <a:cxn ang="0">
                <a:pos x="T2" y="T3"/>
              </a:cxn>
              <a:cxn ang="0">
                <a:pos x="T4" y="T5"/>
              </a:cxn>
              <a:cxn ang="0">
                <a:pos x="T6" y="T7"/>
              </a:cxn>
              <a:cxn ang="0">
                <a:pos x="T8" y="T9"/>
              </a:cxn>
            </a:cxnLst>
            <a:rect l="0" t="0" r="r" b="b"/>
            <a:pathLst>
              <a:path w="4" h="3">
                <a:moveTo>
                  <a:pt x="4" y="1"/>
                </a:moveTo>
                <a:cubicBezTo>
                  <a:pt x="4" y="2"/>
                  <a:pt x="3" y="1"/>
                  <a:pt x="3" y="1"/>
                </a:cubicBezTo>
                <a:cubicBezTo>
                  <a:pt x="2" y="1"/>
                  <a:pt x="2" y="2"/>
                  <a:pt x="2" y="2"/>
                </a:cubicBezTo>
                <a:cubicBezTo>
                  <a:pt x="1" y="3"/>
                  <a:pt x="1" y="1"/>
                  <a:pt x="0" y="1"/>
                </a:cubicBezTo>
                <a:cubicBezTo>
                  <a:pt x="1" y="0"/>
                  <a:pt x="3" y="1"/>
                  <a:pt x="4"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8" name="Freeform 14"/>
          <p:cNvSpPr/>
          <p:nvPr/>
        </p:nvSpPr>
        <p:spPr bwMode="auto">
          <a:xfrm>
            <a:off x="2185657" y="1616075"/>
            <a:ext cx="109538" cy="58737"/>
          </a:xfrm>
          <a:custGeom>
            <a:avLst/>
            <a:gdLst>
              <a:gd name="T0" fmla="*/ 8 w 11"/>
              <a:gd name="T1" fmla="*/ 2 h 6"/>
              <a:gd name="T2" fmla="*/ 9 w 11"/>
              <a:gd name="T3" fmla="*/ 3 h 6"/>
              <a:gd name="T4" fmla="*/ 10 w 11"/>
              <a:gd name="T5" fmla="*/ 6 h 6"/>
              <a:gd name="T6" fmla="*/ 9 w 11"/>
              <a:gd name="T7" fmla="*/ 6 h 6"/>
              <a:gd name="T8" fmla="*/ 9 w 11"/>
              <a:gd name="T9" fmla="*/ 5 h 6"/>
              <a:gd name="T10" fmla="*/ 8 w 11"/>
              <a:gd name="T11" fmla="*/ 4 h 6"/>
              <a:gd name="T12" fmla="*/ 2 w 11"/>
              <a:gd name="T13" fmla="*/ 4 h 6"/>
              <a:gd name="T14" fmla="*/ 3 w 11"/>
              <a:gd name="T15" fmla="*/ 3 h 6"/>
              <a:gd name="T16" fmla="*/ 3 w 11"/>
              <a:gd name="T17" fmla="*/ 2 h 6"/>
              <a:gd name="T18" fmla="*/ 0 w 11"/>
              <a:gd name="T19" fmla="*/ 1 h 6"/>
              <a:gd name="T20" fmla="*/ 3 w 11"/>
              <a:gd name="T21" fmla="*/ 1 h 6"/>
              <a:gd name="T22" fmla="*/ 4 w 11"/>
              <a:gd name="T23" fmla="*/ 2 h 6"/>
              <a:gd name="T24" fmla="*/ 6 w 11"/>
              <a:gd name="T25" fmla="*/ 2 h 6"/>
              <a:gd name="T26" fmla="*/ 8 w 11"/>
              <a:gd name="T2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6">
                <a:moveTo>
                  <a:pt x="8" y="2"/>
                </a:moveTo>
                <a:cubicBezTo>
                  <a:pt x="8" y="2"/>
                  <a:pt x="9" y="3"/>
                  <a:pt x="9" y="3"/>
                </a:cubicBezTo>
                <a:cubicBezTo>
                  <a:pt x="10" y="4"/>
                  <a:pt x="11" y="5"/>
                  <a:pt x="10" y="6"/>
                </a:cubicBezTo>
                <a:cubicBezTo>
                  <a:pt x="10" y="6"/>
                  <a:pt x="9" y="6"/>
                  <a:pt x="9" y="6"/>
                </a:cubicBezTo>
                <a:cubicBezTo>
                  <a:pt x="9" y="6"/>
                  <a:pt x="9" y="5"/>
                  <a:pt x="9" y="5"/>
                </a:cubicBezTo>
                <a:cubicBezTo>
                  <a:pt x="9" y="5"/>
                  <a:pt x="8" y="6"/>
                  <a:pt x="8" y="4"/>
                </a:cubicBezTo>
                <a:cubicBezTo>
                  <a:pt x="5" y="4"/>
                  <a:pt x="4" y="4"/>
                  <a:pt x="2" y="4"/>
                </a:cubicBezTo>
                <a:cubicBezTo>
                  <a:pt x="2" y="3"/>
                  <a:pt x="3" y="3"/>
                  <a:pt x="3" y="3"/>
                </a:cubicBezTo>
                <a:cubicBezTo>
                  <a:pt x="3" y="3"/>
                  <a:pt x="3" y="3"/>
                  <a:pt x="3" y="2"/>
                </a:cubicBezTo>
                <a:cubicBezTo>
                  <a:pt x="1" y="1"/>
                  <a:pt x="0" y="3"/>
                  <a:pt x="0" y="1"/>
                </a:cubicBezTo>
                <a:cubicBezTo>
                  <a:pt x="1" y="0"/>
                  <a:pt x="2" y="0"/>
                  <a:pt x="3" y="1"/>
                </a:cubicBezTo>
                <a:cubicBezTo>
                  <a:pt x="4" y="1"/>
                  <a:pt x="4" y="1"/>
                  <a:pt x="4" y="2"/>
                </a:cubicBezTo>
                <a:cubicBezTo>
                  <a:pt x="5" y="2"/>
                  <a:pt x="6" y="0"/>
                  <a:pt x="6" y="2"/>
                </a:cubicBezTo>
                <a:cubicBezTo>
                  <a:pt x="6" y="2"/>
                  <a:pt x="8" y="2"/>
                  <a:pt x="8"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9" name="Freeform 15"/>
          <p:cNvSpPr/>
          <p:nvPr/>
        </p:nvSpPr>
        <p:spPr bwMode="auto">
          <a:xfrm>
            <a:off x="6040107" y="1616075"/>
            <a:ext cx="109538" cy="58737"/>
          </a:xfrm>
          <a:custGeom>
            <a:avLst/>
            <a:gdLst>
              <a:gd name="T0" fmla="*/ 4 w 11"/>
              <a:gd name="T1" fmla="*/ 0 h 6"/>
              <a:gd name="T2" fmla="*/ 6 w 11"/>
              <a:gd name="T3" fmla="*/ 2 h 6"/>
              <a:gd name="T4" fmla="*/ 6 w 11"/>
              <a:gd name="T5" fmla="*/ 1 h 6"/>
              <a:gd name="T6" fmla="*/ 7 w 11"/>
              <a:gd name="T7" fmla="*/ 2 h 6"/>
              <a:gd name="T8" fmla="*/ 8 w 11"/>
              <a:gd name="T9" fmla="*/ 2 h 6"/>
              <a:gd name="T10" fmla="*/ 8 w 11"/>
              <a:gd name="T11" fmla="*/ 2 h 6"/>
              <a:gd name="T12" fmla="*/ 10 w 11"/>
              <a:gd name="T13" fmla="*/ 3 h 6"/>
              <a:gd name="T14" fmla="*/ 7 w 11"/>
              <a:gd name="T15" fmla="*/ 3 h 6"/>
              <a:gd name="T16" fmla="*/ 6 w 11"/>
              <a:gd name="T17" fmla="*/ 4 h 6"/>
              <a:gd name="T18" fmla="*/ 2 w 11"/>
              <a:gd name="T19" fmla="*/ 4 h 6"/>
              <a:gd name="T20" fmla="*/ 2 w 11"/>
              <a:gd name="T21" fmla="*/ 5 h 6"/>
              <a:gd name="T22" fmla="*/ 0 w 11"/>
              <a:gd name="T23" fmla="*/ 5 h 6"/>
              <a:gd name="T24" fmla="*/ 0 w 11"/>
              <a:gd name="T25" fmla="*/ 3 h 6"/>
              <a:gd name="T26" fmla="*/ 1 w 11"/>
              <a:gd name="T27" fmla="*/ 3 h 6"/>
              <a:gd name="T28" fmla="*/ 1 w 11"/>
              <a:gd name="T29" fmla="*/ 2 h 6"/>
              <a:gd name="T30" fmla="*/ 2 w 11"/>
              <a:gd name="T31" fmla="*/ 2 h 6"/>
              <a:gd name="T32" fmla="*/ 4 w 11"/>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6">
                <a:moveTo>
                  <a:pt x="4" y="0"/>
                </a:moveTo>
                <a:cubicBezTo>
                  <a:pt x="4" y="1"/>
                  <a:pt x="6" y="0"/>
                  <a:pt x="6" y="2"/>
                </a:cubicBezTo>
                <a:cubicBezTo>
                  <a:pt x="6" y="2"/>
                  <a:pt x="6" y="1"/>
                  <a:pt x="6" y="1"/>
                </a:cubicBezTo>
                <a:cubicBezTo>
                  <a:pt x="7" y="1"/>
                  <a:pt x="7" y="1"/>
                  <a:pt x="7" y="2"/>
                </a:cubicBezTo>
                <a:cubicBezTo>
                  <a:pt x="8" y="2"/>
                  <a:pt x="8" y="1"/>
                  <a:pt x="8" y="2"/>
                </a:cubicBezTo>
                <a:cubicBezTo>
                  <a:pt x="8" y="2"/>
                  <a:pt x="8" y="2"/>
                  <a:pt x="8" y="2"/>
                </a:cubicBezTo>
                <a:cubicBezTo>
                  <a:pt x="9" y="2"/>
                  <a:pt x="10" y="2"/>
                  <a:pt x="10" y="3"/>
                </a:cubicBezTo>
                <a:cubicBezTo>
                  <a:pt x="11" y="4"/>
                  <a:pt x="8" y="3"/>
                  <a:pt x="7" y="3"/>
                </a:cubicBezTo>
                <a:cubicBezTo>
                  <a:pt x="6" y="3"/>
                  <a:pt x="7" y="4"/>
                  <a:pt x="6" y="4"/>
                </a:cubicBezTo>
                <a:cubicBezTo>
                  <a:pt x="5" y="5"/>
                  <a:pt x="3" y="5"/>
                  <a:pt x="2" y="4"/>
                </a:cubicBezTo>
                <a:cubicBezTo>
                  <a:pt x="2" y="4"/>
                  <a:pt x="2" y="5"/>
                  <a:pt x="2" y="5"/>
                </a:cubicBezTo>
                <a:cubicBezTo>
                  <a:pt x="1" y="5"/>
                  <a:pt x="1" y="6"/>
                  <a:pt x="0" y="5"/>
                </a:cubicBezTo>
                <a:cubicBezTo>
                  <a:pt x="0" y="5"/>
                  <a:pt x="0" y="4"/>
                  <a:pt x="0" y="3"/>
                </a:cubicBezTo>
                <a:cubicBezTo>
                  <a:pt x="0" y="3"/>
                  <a:pt x="1" y="4"/>
                  <a:pt x="1" y="3"/>
                </a:cubicBezTo>
                <a:cubicBezTo>
                  <a:pt x="1" y="3"/>
                  <a:pt x="1" y="2"/>
                  <a:pt x="1" y="2"/>
                </a:cubicBezTo>
                <a:cubicBezTo>
                  <a:pt x="1" y="2"/>
                  <a:pt x="2" y="2"/>
                  <a:pt x="2" y="2"/>
                </a:cubicBezTo>
                <a:cubicBezTo>
                  <a:pt x="3" y="1"/>
                  <a:pt x="3" y="1"/>
                  <a:pt x="4"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0" name="Freeform 16"/>
          <p:cNvSpPr/>
          <p:nvPr/>
        </p:nvSpPr>
        <p:spPr bwMode="auto">
          <a:xfrm>
            <a:off x="1998332" y="1655763"/>
            <a:ext cx="9525" cy="30162"/>
          </a:xfrm>
          <a:custGeom>
            <a:avLst/>
            <a:gdLst>
              <a:gd name="T0" fmla="*/ 1 w 1"/>
              <a:gd name="T1" fmla="*/ 2 h 3"/>
              <a:gd name="T2" fmla="*/ 1 w 1"/>
              <a:gd name="T3" fmla="*/ 2 h 3"/>
            </a:gdLst>
            <a:ahLst/>
            <a:cxnLst>
              <a:cxn ang="0">
                <a:pos x="T0" y="T1"/>
              </a:cxn>
              <a:cxn ang="0">
                <a:pos x="T2" y="T3"/>
              </a:cxn>
            </a:cxnLst>
            <a:rect l="0" t="0" r="r" b="b"/>
            <a:pathLst>
              <a:path w="1" h="3">
                <a:moveTo>
                  <a:pt x="1" y="2"/>
                </a:moveTo>
                <a:cubicBezTo>
                  <a:pt x="0" y="3"/>
                  <a:pt x="0" y="0"/>
                  <a:pt x="1"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1" name="Freeform 17"/>
          <p:cNvSpPr/>
          <p:nvPr/>
        </p:nvSpPr>
        <p:spPr bwMode="auto">
          <a:xfrm>
            <a:off x="2038019" y="1665288"/>
            <a:ext cx="58738" cy="30162"/>
          </a:xfrm>
          <a:custGeom>
            <a:avLst/>
            <a:gdLst>
              <a:gd name="T0" fmla="*/ 5 w 6"/>
              <a:gd name="T1" fmla="*/ 1 h 3"/>
              <a:gd name="T2" fmla="*/ 1 w 6"/>
              <a:gd name="T3" fmla="*/ 3 h 3"/>
              <a:gd name="T4" fmla="*/ 0 w 6"/>
              <a:gd name="T5" fmla="*/ 2 h 3"/>
              <a:gd name="T6" fmla="*/ 3 w 6"/>
              <a:gd name="T7" fmla="*/ 1 h 3"/>
              <a:gd name="T8" fmla="*/ 5 w 6"/>
              <a:gd name="T9" fmla="*/ 1 h 3"/>
            </a:gdLst>
            <a:ahLst/>
            <a:cxnLst>
              <a:cxn ang="0">
                <a:pos x="T0" y="T1"/>
              </a:cxn>
              <a:cxn ang="0">
                <a:pos x="T2" y="T3"/>
              </a:cxn>
              <a:cxn ang="0">
                <a:pos x="T4" y="T5"/>
              </a:cxn>
              <a:cxn ang="0">
                <a:pos x="T6" y="T7"/>
              </a:cxn>
              <a:cxn ang="0">
                <a:pos x="T8" y="T9"/>
              </a:cxn>
            </a:cxnLst>
            <a:rect l="0" t="0" r="r" b="b"/>
            <a:pathLst>
              <a:path w="6" h="3">
                <a:moveTo>
                  <a:pt x="5" y="1"/>
                </a:moveTo>
                <a:cubicBezTo>
                  <a:pt x="6" y="3"/>
                  <a:pt x="2" y="2"/>
                  <a:pt x="1" y="3"/>
                </a:cubicBezTo>
                <a:cubicBezTo>
                  <a:pt x="0" y="3"/>
                  <a:pt x="1" y="2"/>
                  <a:pt x="0" y="2"/>
                </a:cubicBezTo>
                <a:cubicBezTo>
                  <a:pt x="0" y="0"/>
                  <a:pt x="3" y="2"/>
                  <a:pt x="3" y="1"/>
                </a:cubicBezTo>
                <a:cubicBezTo>
                  <a:pt x="3" y="0"/>
                  <a:pt x="4" y="1"/>
                  <a:pt x="5"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2" name="Freeform 18"/>
          <p:cNvSpPr/>
          <p:nvPr/>
        </p:nvSpPr>
        <p:spPr bwMode="auto">
          <a:xfrm>
            <a:off x="2363457" y="1665288"/>
            <a:ext cx="49213" cy="30162"/>
          </a:xfrm>
          <a:custGeom>
            <a:avLst/>
            <a:gdLst>
              <a:gd name="T0" fmla="*/ 5 w 5"/>
              <a:gd name="T1" fmla="*/ 1 h 3"/>
              <a:gd name="T2" fmla="*/ 5 w 5"/>
              <a:gd name="T3" fmla="*/ 2 h 3"/>
              <a:gd name="T4" fmla="*/ 3 w 5"/>
              <a:gd name="T5" fmla="*/ 3 h 3"/>
              <a:gd name="T6" fmla="*/ 3 w 5"/>
              <a:gd name="T7" fmla="*/ 3 h 3"/>
              <a:gd name="T8" fmla="*/ 1 w 5"/>
              <a:gd name="T9" fmla="*/ 3 h 3"/>
              <a:gd name="T10" fmla="*/ 1 w 5"/>
              <a:gd name="T11" fmla="*/ 3 h 3"/>
              <a:gd name="T12" fmla="*/ 0 w 5"/>
              <a:gd name="T13" fmla="*/ 3 h 3"/>
              <a:gd name="T14" fmla="*/ 5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1"/>
                </a:moveTo>
                <a:cubicBezTo>
                  <a:pt x="5" y="2"/>
                  <a:pt x="5" y="2"/>
                  <a:pt x="5" y="2"/>
                </a:cubicBezTo>
                <a:cubicBezTo>
                  <a:pt x="4" y="3"/>
                  <a:pt x="4" y="3"/>
                  <a:pt x="3" y="3"/>
                </a:cubicBezTo>
                <a:cubicBezTo>
                  <a:pt x="3" y="3"/>
                  <a:pt x="3" y="3"/>
                  <a:pt x="3" y="3"/>
                </a:cubicBezTo>
                <a:cubicBezTo>
                  <a:pt x="2" y="3"/>
                  <a:pt x="2" y="3"/>
                  <a:pt x="1" y="3"/>
                </a:cubicBezTo>
                <a:cubicBezTo>
                  <a:pt x="1" y="3"/>
                  <a:pt x="1" y="3"/>
                  <a:pt x="1" y="3"/>
                </a:cubicBezTo>
                <a:cubicBezTo>
                  <a:pt x="1" y="3"/>
                  <a:pt x="0" y="3"/>
                  <a:pt x="0" y="3"/>
                </a:cubicBezTo>
                <a:cubicBezTo>
                  <a:pt x="0" y="0"/>
                  <a:pt x="4" y="3"/>
                  <a:pt x="5"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3" name="Freeform 19"/>
          <p:cNvSpPr/>
          <p:nvPr/>
        </p:nvSpPr>
        <p:spPr bwMode="auto">
          <a:xfrm>
            <a:off x="2166607" y="1685925"/>
            <a:ext cx="28575" cy="9525"/>
          </a:xfrm>
          <a:custGeom>
            <a:avLst/>
            <a:gdLst>
              <a:gd name="T0" fmla="*/ 0 w 3"/>
              <a:gd name="T1" fmla="*/ 1 h 1"/>
              <a:gd name="T2" fmla="*/ 3 w 3"/>
              <a:gd name="T3" fmla="*/ 1 h 1"/>
              <a:gd name="T4" fmla="*/ 0 w 3"/>
              <a:gd name="T5" fmla="*/ 1 h 1"/>
            </a:gdLst>
            <a:ahLst/>
            <a:cxnLst>
              <a:cxn ang="0">
                <a:pos x="T0" y="T1"/>
              </a:cxn>
              <a:cxn ang="0">
                <a:pos x="T2" y="T3"/>
              </a:cxn>
              <a:cxn ang="0">
                <a:pos x="T4" y="T5"/>
              </a:cxn>
            </a:cxnLst>
            <a:rect l="0" t="0" r="r" b="b"/>
            <a:pathLst>
              <a:path w="3" h="1">
                <a:moveTo>
                  <a:pt x="0" y="1"/>
                </a:moveTo>
                <a:cubicBezTo>
                  <a:pt x="0" y="0"/>
                  <a:pt x="3" y="0"/>
                  <a:pt x="3" y="1"/>
                </a:cubicBezTo>
                <a:cubicBezTo>
                  <a:pt x="2" y="1"/>
                  <a:pt x="2" y="1"/>
                  <a:pt x="0"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4" name="Freeform 20"/>
          <p:cNvSpPr/>
          <p:nvPr/>
        </p:nvSpPr>
        <p:spPr bwMode="auto">
          <a:xfrm>
            <a:off x="2463469" y="1685925"/>
            <a:ext cx="9525" cy="19050"/>
          </a:xfrm>
          <a:custGeom>
            <a:avLst/>
            <a:gdLst>
              <a:gd name="T0" fmla="*/ 0 w 1"/>
              <a:gd name="T1" fmla="*/ 0 h 2"/>
              <a:gd name="T2" fmla="*/ 1 w 1"/>
              <a:gd name="T3" fmla="*/ 2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1" y="0"/>
                  <a:pt x="1" y="1"/>
                  <a:pt x="1" y="2"/>
                </a:cubicBezTo>
                <a:cubicBezTo>
                  <a:pt x="1" y="2"/>
                  <a:pt x="0" y="2"/>
                  <a:pt x="0" y="2"/>
                </a:cubicBezTo>
                <a:cubicBezTo>
                  <a:pt x="0" y="1"/>
                  <a:pt x="0" y="1"/>
                  <a:pt x="0"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5" name="Freeform 21"/>
          <p:cNvSpPr/>
          <p:nvPr/>
        </p:nvSpPr>
        <p:spPr bwMode="auto">
          <a:xfrm>
            <a:off x="2334882" y="1714500"/>
            <a:ext cx="325438" cy="100012"/>
          </a:xfrm>
          <a:custGeom>
            <a:avLst/>
            <a:gdLst>
              <a:gd name="T0" fmla="*/ 33 w 33"/>
              <a:gd name="T1" fmla="*/ 5 h 10"/>
              <a:gd name="T2" fmla="*/ 33 w 33"/>
              <a:gd name="T3" fmla="*/ 7 h 10"/>
              <a:gd name="T4" fmla="*/ 32 w 33"/>
              <a:gd name="T5" fmla="*/ 8 h 10"/>
              <a:gd name="T6" fmla="*/ 26 w 33"/>
              <a:gd name="T7" fmla="*/ 8 h 10"/>
              <a:gd name="T8" fmla="*/ 24 w 33"/>
              <a:gd name="T9" fmla="*/ 9 h 10"/>
              <a:gd name="T10" fmla="*/ 23 w 33"/>
              <a:gd name="T11" fmla="*/ 9 h 10"/>
              <a:gd name="T12" fmla="*/ 23 w 33"/>
              <a:gd name="T13" fmla="*/ 9 h 10"/>
              <a:gd name="T14" fmla="*/ 21 w 33"/>
              <a:gd name="T15" fmla="*/ 9 h 10"/>
              <a:gd name="T16" fmla="*/ 21 w 33"/>
              <a:gd name="T17" fmla="*/ 9 h 10"/>
              <a:gd name="T18" fmla="*/ 20 w 33"/>
              <a:gd name="T19" fmla="*/ 9 h 10"/>
              <a:gd name="T20" fmla="*/ 18 w 33"/>
              <a:gd name="T21" fmla="*/ 8 h 10"/>
              <a:gd name="T22" fmla="*/ 11 w 33"/>
              <a:gd name="T23" fmla="*/ 8 h 10"/>
              <a:gd name="T24" fmla="*/ 11 w 33"/>
              <a:gd name="T25" fmla="*/ 7 h 10"/>
              <a:gd name="T26" fmla="*/ 10 w 33"/>
              <a:gd name="T27" fmla="*/ 7 h 10"/>
              <a:gd name="T28" fmla="*/ 10 w 33"/>
              <a:gd name="T29" fmla="*/ 5 h 10"/>
              <a:gd name="T30" fmla="*/ 10 w 33"/>
              <a:gd name="T31" fmla="*/ 4 h 10"/>
              <a:gd name="T32" fmla="*/ 10 w 33"/>
              <a:gd name="T33" fmla="*/ 2 h 10"/>
              <a:gd name="T34" fmla="*/ 5 w 33"/>
              <a:gd name="T35" fmla="*/ 3 h 10"/>
              <a:gd name="T36" fmla="*/ 4 w 33"/>
              <a:gd name="T37" fmla="*/ 2 h 10"/>
              <a:gd name="T38" fmla="*/ 3 w 33"/>
              <a:gd name="T39" fmla="*/ 1 h 10"/>
              <a:gd name="T40" fmla="*/ 2 w 33"/>
              <a:gd name="T41" fmla="*/ 2 h 10"/>
              <a:gd name="T42" fmla="*/ 1 w 33"/>
              <a:gd name="T43" fmla="*/ 0 h 10"/>
              <a:gd name="T44" fmla="*/ 6 w 33"/>
              <a:gd name="T45" fmla="*/ 0 h 10"/>
              <a:gd name="T46" fmla="*/ 7 w 33"/>
              <a:gd name="T47" fmla="*/ 0 h 10"/>
              <a:gd name="T48" fmla="*/ 7 w 33"/>
              <a:gd name="T49" fmla="*/ 1 h 10"/>
              <a:gd name="T50" fmla="*/ 8 w 33"/>
              <a:gd name="T51" fmla="*/ 2 h 10"/>
              <a:gd name="T52" fmla="*/ 12 w 33"/>
              <a:gd name="T53" fmla="*/ 2 h 10"/>
              <a:gd name="T54" fmla="*/ 12 w 33"/>
              <a:gd name="T55" fmla="*/ 4 h 10"/>
              <a:gd name="T56" fmla="*/ 16 w 33"/>
              <a:gd name="T57" fmla="*/ 5 h 10"/>
              <a:gd name="T58" fmla="*/ 16 w 33"/>
              <a:gd name="T59" fmla="*/ 6 h 10"/>
              <a:gd name="T60" fmla="*/ 17 w 33"/>
              <a:gd name="T61" fmla="*/ 5 h 10"/>
              <a:gd name="T62" fmla="*/ 22 w 33"/>
              <a:gd name="T63" fmla="*/ 5 h 10"/>
              <a:gd name="T64" fmla="*/ 23 w 33"/>
              <a:gd name="T65" fmla="*/ 6 h 10"/>
              <a:gd name="T66" fmla="*/ 24 w 33"/>
              <a:gd name="T67" fmla="*/ 5 h 10"/>
              <a:gd name="T68" fmla="*/ 26 w 33"/>
              <a:gd name="T69" fmla="*/ 5 h 10"/>
              <a:gd name="T70" fmla="*/ 33 w 33"/>
              <a:gd name="T7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 h="10">
                <a:moveTo>
                  <a:pt x="33" y="5"/>
                </a:moveTo>
                <a:cubicBezTo>
                  <a:pt x="33" y="6"/>
                  <a:pt x="33" y="7"/>
                  <a:pt x="33" y="7"/>
                </a:cubicBezTo>
                <a:cubicBezTo>
                  <a:pt x="32" y="7"/>
                  <a:pt x="32" y="8"/>
                  <a:pt x="32" y="8"/>
                </a:cubicBezTo>
                <a:cubicBezTo>
                  <a:pt x="30" y="9"/>
                  <a:pt x="28" y="8"/>
                  <a:pt x="26" y="8"/>
                </a:cubicBezTo>
                <a:cubicBezTo>
                  <a:pt x="26" y="8"/>
                  <a:pt x="25" y="9"/>
                  <a:pt x="24" y="9"/>
                </a:cubicBezTo>
                <a:cubicBezTo>
                  <a:pt x="24" y="10"/>
                  <a:pt x="24" y="9"/>
                  <a:pt x="23" y="9"/>
                </a:cubicBezTo>
                <a:cubicBezTo>
                  <a:pt x="23" y="9"/>
                  <a:pt x="23" y="9"/>
                  <a:pt x="23" y="9"/>
                </a:cubicBezTo>
                <a:cubicBezTo>
                  <a:pt x="22" y="9"/>
                  <a:pt x="21" y="9"/>
                  <a:pt x="21" y="9"/>
                </a:cubicBezTo>
                <a:cubicBezTo>
                  <a:pt x="21" y="9"/>
                  <a:pt x="21" y="9"/>
                  <a:pt x="21" y="9"/>
                </a:cubicBezTo>
                <a:cubicBezTo>
                  <a:pt x="20" y="9"/>
                  <a:pt x="20" y="9"/>
                  <a:pt x="20" y="9"/>
                </a:cubicBezTo>
                <a:cubicBezTo>
                  <a:pt x="19" y="9"/>
                  <a:pt x="19" y="8"/>
                  <a:pt x="18" y="8"/>
                </a:cubicBezTo>
                <a:cubicBezTo>
                  <a:pt x="16" y="8"/>
                  <a:pt x="14" y="10"/>
                  <a:pt x="11" y="8"/>
                </a:cubicBezTo>
                <a:cubicBezTo>
                  <a:pt x="11" y="8"/>
                  <a:pt x="11" y="8"/>
                  <a:pt x="11" y="7"/>
                </a:cubicBezTo>
                <a:cubicBezTo>
                  <a:pt x="11" y="7"/>
                  <a:pt x="11" y="7"/>
                  <a:pt x="10" y="7"/>
                </a:cubicBezTo>
                <a:cubicBezTo>
                  <a:pt x="10" y="6"/>
                  <a:pt x="10" y="5"/>
                  <a:pt x="10" y="5"/>
                </a:cubicBezTo>
                <a:cubicBezTo>
                  <a:pt x="10" y="5"/>
                  <a:pt x="10" y="5"/>
                  <a:pt x="10" y="4"/>
                </a:cubicBezTo>
                <a:cubicBezTo>
                  <a:pt x="10" y="3"/>
                  <a:pt x="9" y="4"/>
                  <a:pt x="10" y="2"/>
                </a:cubicBezTo>
                <a:cubicBezTo>
                  <a:pt x="9" y="3"/>
                  <a:pt x="7" y="3"/>
                  <a:pt x="5" y="3"/>
                </a:cubicBezTo>
                <a:cubicBezTo>
                  <a:pt x="4" y="3"/>
                  <a:pt x="5" y="2"/>
                  <a:pt x="4" y="2"/>
                </a:cubicBezTo>
                <a:cubicBezTo>
                  <a:pt x="4" y="2"/>
                  <a:pt x="3" y="2"/>
                  <a:pt x="3" y="1"/>
                </a:cubicBezTo>
                <a:cubicBezTo>
                  <a:pt x="3" y="2"/>
                  <a:pt x="2" y="2"/>
                  <a:pt x="2" y="2"/>
                </a:cubicBezTo>
                <a:cubicBezTo>
                  <a:pt x="3" y="0"/>
                  <a:pt x="0" y="2"/>
                  <a:pt x="1" y="0"/>
                </a:cubicBezTo>
                <a:cubicBezTo>
                  <a:pt x="3" y="0"/>
                  <a:pt x="4" y="0"/>
                  <a:pt x="6" y="0"/>
                </a:cubicBezTo>
                <a:cubicBezTo>
                  <a:pt x="6" y="0"/>
                  <a:pt x="7" y="0"/>
                  <a:pt x="7" y="0"/>
                </a:cubicBezTo>
                <a:cubicBezTo>
                  <a:pt x="7" y="0"/>
                  <a:pt x="7" y="1"/>
                  <a:pt x="7" y="1"/>
                </a:cubicBezTo>
                <a:cubicBezTo>
                  <a:pt x="7" y="1"/>
                  <a:pt x="8" y="1"/>
                  <a:pt x="8" y="2"/>
                </a:cubicBezTo>
                <a:cubicBezTo>
                  <a:pt x="9" y="1"/>
                  <a:pt x="11" y="2"/>
                  <a:pt x="12" y="2"/>
                </a:cubicBezTo>
                <a:cubicBezTo>
                  <a:pt x="12" y="3"/>
                  <a:pt x="13" y="3"/>
                  <a:pt x="12" y="4"/>
                </a:cubicBezTo>
                <a:cubicBezTo>
                  <a:pt x="13" y="4"/>
                  <a:pt x="14" y="4"/>
                  <a:pt x="16" y="5"/>
                </a:cubicBezTo>
                <a:cubicBezTo>
                  <a:pt x="16" y="5"/>
                  <a:pt x="13" y="6"/>
                  <a:pt x="16" y="6"/>
                </a:cubicBezTo>
                <a:cubicBezTo>
                  <a:pt x="16" y="6"/>
                  <a:pt x="16" y="5"/>
                  <a:pt x="17" y="5"/>
                </a:cubicBezTo>
                <a:cubicBezTo>
                  <a:pt x="18" y="5"/>
                  <a:pt x="20" y="5"/>
                  <a:pt x="22" y="5"/>
                </a:cubicBezTo>
                <a:cubicBezTo>
                  <a:pt x="22" y="5"/>
                  <a:pt x="23" y="6"/>
                  <a:pt x="23" y="6"/>
                </a:cubicBezTo>
                <a:cubicBezTo>
                  <a:pt x="24" y="6"/>
                  <a:pt x="22" y="5"/>
                  <a:pt x="24" y="5"/>
                </a:cubicBezTo>
                <a:cubicBezTo>
                  <a:pt x="25" y="5"/>
                  <a:pt x="25" y="5"/>
                  <a:pt x="26" y="5"/>
                </a:cubicBezTo>
                <a:cubicBezTo>
                  <a:pt x="28" y="4"/>
                  <a:pt x="31" y="4"/>
                  <a:pt x="33" y="5"/>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6" name="Freeform 22"/>
          <p:cNvSpPr/>
          <p:nvPr/>
        </p:nvSpPr>
        <p:spPr bwMode="auto">
          <a:xfrm>
            <a:off x="5130469" y="1704975"/>
            <a:ext cx="327025" cy="238125"/>
          </a:xfrm>
          <a:custGeom>
            <a:avLst/>
            <a:gdLst>
              <a:gd name="T0" fmla="*/ 27 w 33"/>
              <a:gd name="T1" fmla="*/ 1 h 24"/>
              <a:gd name="T2" fmla="*/ 33 w 33"/>
              <a:gd name="T3" fmla="*/ 1 h 24"/>
              <a:gd name="T4" fmla="*/ 33 w 33"/>
              <a:gd name="T5" fmla="*/ 3 h 24"/>
              <a:gd name="T6" fmla="*/ 27 w 33"/>
              <a:gd name="T7" fmla="*/ 4 h 24"/>
              <a:gd name="T8" fmla="*/ 26 w 33"/>
              <a:gd name="T9" fmla="*/ 5 h 24"/>
              <a:gd name="T10" fmla="*/ 25 w 33"/>
              <a:gd name="T11" fmla="*/ 5 h 24"/>
              <a:gd name="T12" fmla="*/ 24 w 33"/>
              <a:gd name="T13" fmla="*/ 6 h 24"/>
              <a:gd name="T14" fmla="*/ 23 w 33"/>
              <a:gd name="T15" fmla="*/ 5 h 24"/>
              <a:gd name="T16" fmla="*/ 21 w 33"/>
              <a:gd name="T17" fmla="*/ 6 h 24"/>
              <a:gd name="T18" fmla="*/ 19 w 33"/>
              <a:gd name="T19" fmla="*/ 6 h 24"/>
              <a:gd name="T20" fmla="*/ 19 w 33"/>
              <a:gd name="T21" fmla="*/ 7 h 24"/>
              <a:gd name="T22" fmla="*/ 16 w 33"/>
              <a:gd name="T23" fmla="*/ 8 h 24"/>
              <a:gd name="T24" fmla="*/ 15 w 33"/>
              <a:gd name="T25" fmla="*/ 9 h 24"/>
              <a:gd name="T26" fmla="*/ 14 w 33"/>
              <a:gd name="T27" fmla="*/ 10 h 24"/>
              <a:gd name="T28" fmla="*/ 13 w 33"/>
              <a:gd name="T29" fmla="*/ 11 h 24"/>
              <a:gd name="T30" fmla="*/ 11 w 33"/>
              <a:gd name="T31" fmla="*/ 12 h 24"/>
              <a:gd name="T32" fmla="*/ 11 w 33"/>
              <a:gd name="T33" fmla="*/ 13 h 24"/>
              <a:gd name="T34" fmla="*/ 9 w 33"/>
              <a:gd name="T35" fmla="*/ 14 h 24"/>
              <a:gd name="T36" fmla="*/ 8 w 33"/>
              <a:gd name="T37" fmla="*/ 15 h 24"/>
              <a:gd name="T38" fmla="*/ 8 w 33"/>
              <a:gd name="T39" fmla="*/ 18 h 24"/>
              <a:gd name="T40" fmla="*/ 7 w 33"/>
              <a:gd name="T41" fmla="*/ 19 h 24"/>
              <a:gd name="T42" fmla="*/ 8 w 33"/>
              <a:gd name="T43" fmla="*/ 21 h 24"/>
              <a:gd name="T44" fmla="*/ 7 w 33"/>
              <a:gd name="T45" fmla="*/ 22 h 24"/>
              <a:gd name="T46" fmla="*/ 8 w 33"/>
              <a:gd name="T47" fmla="*/ 22 h 24"/>
              <a:gd name="T48" fmla="*/ 8 w 33"/>
              <a:gd name="T49" fmla="*/ 22 h 24"/>
              <a:gd name="T50" fmla="*/ 10 w 33"/>
              <a:gd name="T51" fmla="*/ 22 h 24"/>
              <a:gd name="T52" fmla="*/ 9 w 33"/>
              <a:gd name="T53" fmla="*/ 24 h 24"/>
              <a:gd name="T54" fmla="*/ 5 w 33"/>
              <a:gd name="T55" fmla="*/ 24 h 24"/>
              <a:gd name="T56" fmla="*/ 6 w 33"/>
              <a:gd name="T57" fmla="*/ 23 h 24"/>
              <a:gd name="T58" fmla="*/ 4 w 33"/>
              <a:gd name="T59" fmla="*/ 23 h 24"/>
              <a:gd name="T60" fmla="*/ 3 w 33"/>
              <a:gd name="T61" fmla="*/ 22 h 24"/>
              <a:gd name="T62" fmla="*/ 2 w 33"/>
              <a:gd name="T63" fmla="*/ 22 h 24"/>
              <a:gd name="T64" fmla="*/ 1 w 33"/>
              <a:gd name="T65" fmla="*/ 22 h 24"/>
              <a:gd name="T66" fmla="*/ 0 w 33"/>
              <a:gd name="T67" fmla="*/ 19 h 24"/>
              <a:gd name="T68" fmla="*/ 3 w 33"/>
              <a:gd name="T69" fmla="*/ 18 h 24"/>
              <a:gd name="T70" fmla="*/ 2 w 33"/>
              <a:gd name="T71" fmla="*/ 17 h 24"/>
              <a:gd name="T72" fmla="*/ 3 w 33"/>
              <a:gd name="T73" fmla="*/ 16 h 24"/>
              <a:gd name="T74" fmla="*/ 5 w 33"/>
              <a:gd name="T75" fmla="*/ 15 h 24"/>
              <a:gd name="T76" fmla="*/ 5 w 33"/>
              <a:gd name="T77" fmla="*/ 14 h 24"/>
              <a:gd name="T78" fmla="*/ 6 w 33"/>
              <a:gd name="T79" fmla="*/ 13 h 24"/>
              <a:gd name="T80" fmla="*/ 7 w 33"/>
              <a:gd name="T81" fmla="*/ 12 h 24"/>
              <a:gd name="T82" fmla="*/ 7 w 33"/>
              <a:gd name="T83" fmla="*/ 9 h 24"/>
              <a:gd name="T84" fmla="*/ 11 w 33"/>
              <a:gd name="T85" fmla="*/ 8 h 24"/>
              <a:gd name="T86" fmla="*/ 12 w 33"/>
              <a:gd name="T87" fmla="*/ 7 h 24"/>
              <a:gd name="T88" fmla="*/ 12 w 33"/>
              <a:gd name="T89" fmla="*/ 8 h 24"/>
              <a:gd name="T90" fmla="*/ 13 w 33"/>
              <a:gd name="T91" fmla="*/ 7 h 24"/>
              <a:gd name="T92" fmla="*/ 13 w 33"/>
              <a:gd name="T93" fmla="*/ 6 h 24"/>
              <a:gd name="T94" fmla="*/ 16 w 33"/>
              <a:gd name="T95" fmla="*/ 5 h 24"/>
              <a:gd name="T96" fmla="*/ 19 w 33"/>
              <a:gd name="T97" fmla="*/ 5 h 24"/>
              <a:gd name="T98" fmla="*/ 19 w 33"/>
              <a:gd name="T99" fmla="*/ 4 h 24"/>
              <a:gd name="T100" fmla="*/ 20 w 33"/>
              <a:gd name="T101" fmla="*/ 5 h 24"/>
              <a:gd name="T102" fmla="*/ 20 w 33"/>
              <a:gd name="T103" fmla="*/ 4 h 24"/>
              <a:gd name="T104" fmla="*/ 21 w 33"/>
              <a:gd name="T105" fmla="*/ 4 h 24"/>
              <a:gd name="T106" fmla="*/ 24 w 33"/>
              <a:gd name="T107" fmla="*/ 3 h 24"/>
              <a:gd name="T108" fmla="*/ 25 w 33"/>
              <a:gd name="T109" fmla="*/ 3 h 24"/>
              <a:gd name="T110" fmla="*/ 26 w 33"/>
              <a:gd name="T111" fmla="*/ 2 h 24"/>
              <a:gd name="T112" fmla="*/ 27 w 33"/>
              <a:gd name="T113"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 h="24">
                <a:moveTo>
                  <a:pt x="27" y="1"/>
                </a:moveTo>
                <a:cubicBezTo>
                  <a:pt x="29" y="2"/>
                  <a:pt x="31" y="0"/>
                  <a:pt x="33" y="1"/>
                </a:cubicBezTo>
                <a:cubicBezTo>
                  <a:pt x="33" y="2"/>
                  <a:pt x="32" y="2"/>
                  <a:pt x="33" y="3"/>
                </a:cubicBezTo>
                <a:cubicBezTo>
                  <a:pt x="31" y="2"/>
                  <a:pt x="29" y="4"/>
                  <a:pt x="27" y="4"/>
                </a:cubicBezTo>
                <a:cubicBezTo>
                  <a:pt x="26" y="4"/>
                  <a:pt x="26" y="5"/>
                  <a:pt x="26" y="5"/>
                </a:cubicBezTo>
                <a:cubicBezTo>
                  <a:pt x="25" y="5"/>
                  <a:pt x="25" y="5"/>
                  <a:pt x="25" y="5"/>
                </a:cubicBezTo>
                <a:cubicBezTo>
                  <a:pt x="25" y="5"/>
                  <a:pt x="24" y="6"/>
                  <a:pt x="24" y="6"/>
                </a:cubicBezTo>
                <a:cubicBezTo>
                  <a:pt x="23" y="6"/>
                  <a:pt x="23" y="5"/>
                  <a:pt x="23" y="5"/>
                </a:cubicBezTo>
                <a:cubicBezTo>
                  <a:pt x="22" y="5"/>
                  <a:pt x="22" y="5"/>
                  <a:pt x="21" y="6"/>
                </a:cubicBezTo>
                <a:cubicBezTo>
                  <a:pt x="21" y="6"/>
                  <a:pt x="20" y="6"/>
                  <a:pt x="19" y="6"/>
                </a:cubicBezTo>
                <a:cubicBezTo>
                  <a:pt x="19" y="6"/>
                  <a:pt x="19" y="7"/>
                  <a:pt x="19" y="7"/>
                </a:cubicBezTo>
                <a:cubicBezTo>
                  <a:pt x="18" y="7"/>
                  <a:pt x="16" y="7"/>
                  <a:pt x="16" y="8"/>
                </a:cubicBezTo>
                <a:cubicBezTo>
                  <a:pt x="16" y="9"/>
                  <a:pt x="15" y="9"/>
                  <a:pt x="15" y="9"/>
                </a:cubicBezTo>
                <a:cubicBezTo>
                  <a:pt x="15" y="10"/>
                  <a:pt x="14" y="10"/>
                  <a:pt x="14" y="10"/>
                </a:cubicBezTo>
                <a:cubicBezTo>
                  <a:pt x="14" y="11"/>
                  <a:pt x="13" y="11"/>
                  <a:pt x="13" y="11"/>
                </a:cubicBezTo>
                <a:cubicBezTo>
                  <a:pt x="12" y="12"/>
                  <a:pt x="12" y="11"/>
                  <a:pt x="11" y="12"/>
                </a:cubicBezTo>
                <a:cubicBezTo>
                  <a:pt x="11" y="12"/>
                  <a:pt x="11" y="12"/>
                  <a:pt x="11" y="13"/>
                </a:cubicBezTo>
                <a:cubicBezTo>
                  <a:pt x="11" y="13"/>
                  <a:pt x="10" y="13"/>
                  <a:pt x="9" y="14"/>
                </a:cubicBezTo>
                <a:cubicBezTo>
                  <a:pt x="9" y="14"/>
                  <a:pt x="9" y="16"/>
                  <a:pt x="8" y="15"/>
                </a:cubicBezTo>
                <a:cubicBezTo>
                  <a:pt x="8" y="16"/>
                  <a:pt x="7" y="18"/>
                  <a:pt x="8" y="18"/>
                </a:cubicBezTo>
                <a:cubicBezTo>
                  <a:pt x="8" y="19"/>
                  <a:pt x="8" y="19"/>
                  <a:pt x="7" y="19"/>
                </a:cubicBezTo>
                <a:cubicBezTo>
                  <a:pt x="6" y="20"/>
                  <a:pt x="8" y="20"/>
                  <a:pt x="8" y="21"/>
                </a:cubicBezTo>
                <a:cubicBezTo>
                  <a:pt x="8" y="21"/>
                  <a:pt x="7" y="21"/>
                  <a:pt x="7" y="22"/>
                </a:cubicBezTo>
                <a:cubicBezTo>
                  <a:pt x="7" y="21"/>
                  <a:pt x="8" y="22"/>
                  <a:pt x="8" y="22"/>
                </a:cubicBezTo>
                <a:cubicBezTo>
                  <a:pt x="8" y="22"/>
                  <a:pt x="9" y="22"/>
                  <a:pt x="8" y="22"/>
                </a:cubicBezTo>
                <a:cubicBezTo>
                  <a:pt x="9" y="22"/>
                  <a:pt x="9" y="23"/>
                  <a:pt x="10" y="22"/>
                </a:cubicBezTo>
                <a:cubicBezTo>
                  <a:pt x="10" y="23"/>
                  <a:pt x="9" y="23"/>
                  <a:pt x="9" y="24"/>
                </a:cubicBezTo>
                <a:cubicBezTo>
                  <a:pt x="8" y="24"/>
                  <a:pt x="6" y="24"/>
                  <a:pt x="5" y="24"/>
                </a:cubicBezTo>
                <a:cubicBezTo>
                  <a:pt x="5" y="24"/>
                  <a:pt x="6" y="24"/>
                  <a:pt x="6" y="23"/>
                </a:cubicBezTo>
                <a:cubicBezTo>
                  <a:pt x="5" y="23"/>
                  <a:pt x="5" y="23"/>
                  <a:pt x="4" y="23"/>
                </a:cubicBezTo>
                <a:cubicBezTo>
                  <a:pt x="4" y="23"/>
                  <a:pt x="3" y="22"/>
                  <a:pt x="3" y="22"/>
                </a:cubicBezTo>
                <a:cubicBezTo>
                  <a:pt x="3" y="22"/>
                  <a:pt x="2" y="22"/>
                  <a:pt x="2" y="22"/>
                </a:cubicBezTo>
                <a:cubicBezTo>
                  <a:pt x="2" y="22"/>
                  <a:pt x="2" y="22"/>
                  <a:pt x="1" y="22"/>
                </a:cubicBezTo>
                <a:cubicBezTo>
                  <a:pt x="1" y="21"/>
                  <a:pt x="0" y="20"/>
                  <a:pt x="0" y="19"/>
                </a:cubicBezTo>
                <a:cubicBezTo>
                  <a:pt x="2" y="20"/>
                  <a:pt x="1" y="17"/>
                  <a:pt x="3" y="18"/>
                </a:cubicBezTo>
                <a:cubicBezTo>
                  <a:pt x="3" y="17"/>
                  <a:pt x="2" y="17"/>
                  <a:pt x="2" y="17"/>
                </a:cubicBezTo>
                <a:cubicBezTo>
                  <a:pt x="2" y="17"/>
                  <a:pt x="4" y="17"/>
                  <a:pt x="3" y="16"/>
                </a:cubicBezTo>
                <a:cubicBezTo>
                  <a:pt x="3" y="16"/>
                  <a:pt x="4" y="16"/>
                  <a:pt x="5" y="15"/>
                </a:cubicBezTo>
                <a:cubicBezTo>
                  <a:pt x="5" y="15"/>
                  <a:pt x="6" y="14"/>
                  <a:pt x="5" y="14"/>
                </a:cubicBezTo>
                <a:cubicBezTo>
                  <a:pt x="5" y="13"/>
                  <a:pt x="6" y="13"/>
                  <a:pt x="6" y="13"/>
                </a:cubicBezTo>
                <a:cubicBezTo>
                  <a:pt x="6" y="12"/>
                  <a:pt x="7" y="12"/>
                  <a:pt x="7" y="12"/>
                </a:cubicBezTo>
                <a:cubicBezTo>
                  <a:pt x="7" y="11"/>
                  <a:pt x="8" y="11"/>
                  <a:pt x="7" y="9"/>
                </a:cubicBezTo>
                <a:cubicBezTo>
                  <a:pt x="9" y="10"/>
                  <a:pt x="10" y="8"/>
                  <a:pt x="11" y="8"/>
                </a:cubicBezTo>
                <a:cubicBezTo>
                  <a:pt x="12" y="8"/>
                  <a:pt x="11" y="7"/>
                  <a:pt x="12" y="7"/>
                </a:cubicBezTo>
                <a:cubicBezTo>
                  <a:pt x="12" y="7"/>
                  <a:pt x="12" y="7"/>
                  <a:pt x="12" y="8"/>
                </a:cubicBezTo>
                <a:cubicBezTo>
                  <a:pt x="12" y="7"/>
                  <a:pt x="13" y="7"/>
                  <a:pt x="13" y="7"/>
                </a:cubicBezTo>
                <a:cubicBezTo>
                  <a:pt x="13" y="6"/>
                  <a:pt x="14" y="6"/>
                  <a:pt x="13" y="6"/>
                </a:cubicBezTo>
                <a:cubicBezTo>
                  <a:pt x="14" y="6"/>
                  <a:pt x="15" y="6"/>
                  <a:pt x="16" y="5"/>
                </a:cubicBezTo>
                <a:cubicBezTo>
                  <a:pt x="16" y="5"/>
                  <a:pt x="17" y="5"/>
                  <a:pt x="19" y="5"/>
                </a:cubicBezTo>
                <a:cubicBezTo>
                  <a:pt x="19" y="5"/>
                  <a:pt x="19" y="4"/>
                  <a:pt x="19" y="4"/>
                </a:cubicBezTo>
                <a:cubicBezTo>
                  <a:pt x="20" y="4"/>
                  <a:pt x="20" y="5"/>
                  <a:pt x="20" y="5"/>
                </a:cubicBezTo>
                <a:cubicBezTo>
                  <a:pt x="21" y="5"/>
                  <a:pt x="20" y="4"/>
                  <a:pt x="20" y="4"/>
                </a:cubicBezTo>
                <a:cubicBezTo>
                  <a:pt x="21" y="4"/>
                  <a:pt x="21" y="4"/>
                  <a:pt x="21" y="4"/>
                </a:cubicBezTo>
                <a:cubicBezTo>
                  <a:pt x="21" y="4"/>
                  <a:pt x="23" y="4"/>
                  <a:pt x="24" y="3"/>
                </a:cubicBezTo>
                <a:cubicBezTo>
                  <a:pt x="25" y="3"/>
                  <a:pt x="25" y="3"/>
                  <a:pt x="25" y="3"/>
                </a:cubicBezTo>
                <a:cubicBezTo>
                  <a:pt x="25" y="3"/>
                  <a:pt x="26" y="2"/>
                  <a:pt x="26" y="2"/>
                </a:cubicBezTo>
                <a:cubicBezTo>
                  <a:pt x="27" y="2"/>
                  <a:pt x="28" y="3"/>
                  <a:pt x="27"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7" name="Freeform 23"/>
          <p:cNvSpPr/>
          <p:nvPr/>
        </p:nvSpPr>
        <p:spPr bwMode="auto">
          <a:xfrm>
            <a:off x="2255507" y="1725613"/>
            <a:ext cx="30163" cy="9525"/>
          </a:xfrm>
          <a:custGeom>
            <a:avLst/>
            <a:gdLst>
              <a:gd name="T0" fmla="*/ 2 w 3"/>
              <a:gd name="T1" fmla="*/ 0 h 1"/>
              <a:gd name="T2" fmla="*/ 3 w 3"/>
              <a:gd name="T3" fmla="*/ 0 h 1"/>
              <a:gd name="T4" fmla="*/ 2 w 3"/>
              <a:gd name="T5" fmla="*/ 0 h 1"/>
            </a:gdLst>
            <a:ahLst/>
            <a:cxnLst>
              <a:cxn ang="0">
                <a:pos x="T0" y="T1"/>
              </a:cxn>
              <a:cxn ang="0">
                <a:pos x="T2" y="T3"/>
              </a:cxn>
              <a:cxn ang="0">
                <a:pos x="T4" y="T5"/>
              </a:cxn>
            </a:cxnLst>
            <a:rect l="0" t="0" r="r" b="b"/>
            <a:pathLst>
              <a:path w="3" h="1">
                <a:moveTo>
                  <a:pt x="2" y="0"/>
                </a:moveTo>
                <a:cubicBezTo>
                  <a:pt x="2" y="0"/>
                  <a:pt x="3" y="0"/>
                  <a:pt x="3" y="0"/>
                </a:cubicBezTo>
                <a:cubicBezTo>
                  <a:pt x="3" y="1"/>
                  <a:pt x="0" y="0"/>
                  <a:pt x="2"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8" name="Freeform 24"/>
          <p:cNvSpPr/>
          <p:nvPr/>
        </p:nvSpPr>
        <p:spPr bwMode="auto">
          <a:xfrm>
            <a:off x="6741782" y="1744663"/>
            <a:ext cx="100013" cy="79375"/>
          </a:xfrm>
          <a:custGeom>
            <a:avLst/>
            <a:gdLst>
              <a:gd name="T0" fmla="*/ 3 w 10"/>
              <a:gd name="T1" fmla="*/ 0 h 8"/>
              <a:gd name="T2" fmla="*/ 3 w 10"/>
              <a:gd name="T3" fmla="*/ 0 h 8"/>
              <a:gd name="T4" fmla="*/ 6 w 10"/>
              <a:gd name="T5" fmla="*/ 2 h 8"/>
              <a:gd name="T6" fmla="*/ 7 w 10"/>
              <a:gd name="T7" fmla="*/ 1 h 8"/>
              <a:gd name="T8" fmla="*/ 10 w 10"/>
              <a:gd name="T9" fmla="*/ 1 h 8"/>
              <a:gd name="T10" fmla="*/ 9 w 10"/>
              <a:gd name="T11" fmla="*/ 4 h 8"/>
              <a:gd name="T12" fmla="*/ 5 w 10"/>
              <a:gd name="T13" fmla="*/ 4 h 8"/>
              <a:gd name="T14" fmla="*/ 5 w 10"/>
              <a:gd name="T15" fmla="*/ 5 h 8"/>
              <a:gd name="T16" fmla="*/ 4 w 10"/>
              <a:gd name="T17" fmla="*/ 6 h 8"/>
              <a:gd name="T18" fmla="*/ 3 w 10"/>
              <a:gd name="T19" fmla="*/ 6 h 8"/>
              <a:gd name="T20" fmla="*/ 1 w 10"/>
              <a:gd name="T21" fmla="*/ 5 h 8"/>
              <a:gd name="T22" fmla="*/ 0 w 10"/>
              <a:gd name="T23" fmla="*/ 2 h 8"/>
              <a:gd name="T24" fmla="*/ 3 w 10"/>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8">
                <a:moveTo>
                  <a:pt x="3" y="0"/>
                </a:moveTo>
                <a:cubicBezTo>
                  <a:pt x="3" y="0"/>
                  <a:pt x="3" y="0"/>
                  <a:pt x="3" y="0"/>
                </a:cubicBezTo>
                <a:cubicBezTo>
                  <a:pt x="3" y="1"/>
                  <a:pt x="5" y="1"/>
                  <a:pt x="6" y="2"/>
                </a:cubicBezTo>
                <a:cubicBezTo>
                  <a:pt x="7" y="2"/>
                  <a:pt x="7" y="1"/>
                  <a:pt x="7" y="1"/>
                </a:cubicBezTo>
                <a:cubicBezTo>
                  <a:pt x="8" y="1"/>
                  <a:pt x="9" y="2"/>
                  <a:pt x="10" y="1"/>
                </a:cubicBezTo>
                <a:cubicBezTo>
                  <a:pt x="10" y="2"/>
                  <a:pt x="8" y="3"/>
                  <a:pt x="9" y="4"/>
                </a:cubicBezTo>
                <a:cubicBezTo>
                  <a:pt x="9" y="5"/>
                  <a:pt x="7" y="5"/>
                  <a:pt x="5" y="4"/>
                </a:cubicBezTo>
                <a:cubicBezTo>
                  <a:pt x="5" y="5"/>
                  <a:pt x="5" y="5"/>
                  <a:pt x="5" y="5"/>
                </a:cubicBezTo>
                <a:cubicBezTo>
                  <a:pt x="6" y="6"/>
                  <a:pt x="3" y="5"/>
                  <a:pt x="4" y="6"/>
                </a:cubicBezTo>
                <a:cubicBezTo>
                  <a:pt x="4" y="8"/>
                  <a:pt x="3" y="5"/>
                  <a:pt x="3" y="6"/>
                </a:cubicBezTo>
                <a:cubicBezTo>
                  <a:pt x="2" y="6"/>
                  <a:pt x="3" y="5"/>
                  <a:pt x="1" y="5"/>
                </a:cubicBezTo>
                <a:cubicBezTo>
                  <a:pt x="1" y="4"/>
                  <a:pt x="1" y="2"/>
                  <a:pt x="0" y="2"/>
                </a:cubicBezTo>
                <a:cubicBezTo>
                  <a:pt x="0" y="1"/>
                  <a:pt x="3" y="2"/>
                  <a:pt x="3"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69" name="Freeform 25"/>
          <p:cNvSpPr/>
          <p:nvPr/>
        </p:nvSpPr>
        <p:spPr bwMode="auto">
          <a:xfrm>
            <a:off x="1918957" y="1754188"/>
            <a:ext cx="20638" cy="20637"/>
          </a:xfrm>
          <a:custGeom>
            <a:avLst/>
            <a:gdLst>
              <a:gd name="T0" fmla="*/ 1 w 2"/>
              <a:gd name="T1" fmla="*/ 0 h 2"/>
              <a:gd name="T2" fmla="*/ 2 w 2"/>
              <a:gd name="T3" fmla="*/ 2 h 2"/>
              <a:gd name="T4" fmla="*/ 0 w 2"/>
              <a:gd name="T5" fmla="*/ 1 h 2"/>
              <a:gd name="T6" fmla="*/ 1 w 2"/>
              <a:gd name="T7" fmla="*/ 0 h 2"/>
            </a:gdLst>
            <a:ahLst/>
            <a:cxnLst>
              <a:cxn ang="0">
                <a:pos x="T0" y="T1"/>
              </a:cxn>
              <a:cxn ang="0">
                <a:pos x="T2" y="T3"/>
              </a:cxn>
              <a:cxn ang="0">
                <a:pos x="T4" y="T5"/>
              </a:cxn>
              <a:cxn ang="0">
                <a:pos x="T6" y="T7"/>
              </a:cxn>
            </a:cxnLst>
            <a:rect l="0" t="0" r="r" b="b"/>
            <a:pathLst>
              <a:path w="2" h="2">
                <a:moveTo>
                  <a:pt x="1" y="0"/>
                </a:moveTo>
                <a:cubicBezTo>
                  <a:pt x="2" y="0"/>
                  <a:pt x="2" y="0"/>
                  <a:pt x="2" y="2"/>
                </a:cubicBezTo>
                <a:cubicBezTo>
                  <a:pt x="1" y="1"/>
                  <a:pt x="1" y="1"/>
                  <a:pt x="0" y="1"/>
                </a:cubicBezTo>
                <a:cubicBezTo>
                  <a:pt x="0" y="0"/>
                  <a:pt x="1" y="1"/>
                  <a:pt x="1"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0" name="Freeform 26"/>
          <p:cNvSpPr/>
          <p:nvPr/>
        </p:nvSpPr>
        <p:spPr bwMode="auto">
          <a:xfrm>
            <a:off x="6851319" y="1754188"/>
            <a:ext cx="49213" cy="39687"/>
          </a:xfrm>
          <a:custGeom>
            <a:avLst/>
            <a:gdLst>
              <a:gd name="T0" fmla="*/ 0 w 5"/>
              <a:gd name="T1" fmla="*/ 1 h 4"/>
              <a:gd name="T2" fmla="*/ 5 w 5"/>
              <a:gd name="T3" fmla="*/ 2 h 4"/>
              <a:gd name="T4" fmla="*/ 3 w 5"/>
              <a:gd name="T5" fmla="*/ 4 h 4"/>
              <a:gd name="T6" fmla="*/ 2 w 5"/>
              <a:gd name="T7" fmla="*/ 3 h 4"/>
              <a:gd name="T8" fmla="*/ 1 w 5"/>
              <a:gd name="T9" fmla="*/ 3 h 4"/>
              <a:gd name="T10" fmla="*/ 0 w 5"/>
              <a:gd name="T11" fmla="*/ 1 h 4"/>
            </a:gdLst>
            <a:ahLst/>
            <a:cxnLst>
              <a:cxn ang="0">
                <a:pos x="T0" y="T1"/>
              </a:cxn>
              <a:cxn ang="0">
                <a:pos x="T2" y="T3"/>
              </a:cxn>
              <a:cxn ang="0">
                <a:pos x="T4" y="T5"/>
              </a:cxn>
              <a:cxn ang="0">
                <a:pos x="T6" y="T7"/>
              </a:cxn>
              <a:cxn ang="0">
                <a:pos x="T8" y="T9"/>
              </a:cxn>
              <a:cxn ang="0">
                <a:pos x="T10" y="T11"/>
              </a:cxn>
            </a:cxnLst>
            <a:rect l="0" t="0" r="r" b="b"/>
            <a:pathLst>
              <a:path w="5" h="4">
                <a:moveTo>
                  <a:pt x="0" y="1"/>
                </a:moveTo>
                <a:cubicBezTo>
                  <a:pt x="1" y="0"/>
                  <a:pt x="4" y="1"/>
                  <a:pt x="5" y="2"/>
                </a:cubicBezTo>
                <a:cubicBezTo>
                  <a:pt x="5" y="3"/>
                  <a:pt x="2" y="2"/>
                  <a:pt x="3" y="4"/>
                </a:cubicBezTo>
                <a:cubicBezTo>
                  <a:pt x="2" y="4"/>
                  <a:pt x="2" y="3"/>
                  <a:pt x="2" y="3"/>
                </a:cubicBezTo>
                <a:cubicBezTo>
                  <a:pt x="2" y="3"/>
                  <a:pt x="1" y="3"/>
                  <a:pt x="1" y="3"/>
                </a:cubicBezTo>
                <a:cubicBezTo>
                  <a:pt x="0" y="2"/>
                  <a:pt x="1" y="1"/>
                  <a:pt x="0"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1" name="Freeform 27"/>
          <p:cNvSpPr/>
          <p:nvPr/>
        </p:nvSpPr>
        <p:spPr bwMode="auto">
          <a:xfrm>
            <a:off x="6910057" y="1765300"/>
            <a:ext cx="69850" cy="39687"/>
          </a:xfrm>
          <a:custGeom>
            <a:avLst/>
            <a:gdLst>
              <a:gd name="T0" fmla="*/ 1 w 7"/>
              <a:gd name="T1" fmla="*/ 1 h 4"/>
              <a:gd name="T2" fmla="*/ 1 w 7"/>
              <a:gd name="T3" fmla="*/ 1 h 4"/>
              <a:gd name="T4" fmla="*/ 4 w 7"/>
              <a:gd name="T5" fmla="*/ 2 h 4"/>
              <a:gd name="T6" fmla="*/ 6 w 7"/>
              <a:gd name="T7" fmla="*/ 2 h 4"/>
              <a:gd name="T8" fmla="*/ 7 w 7"/>
              <a:gd name="T9" fmla="*/ 3 h 4"/>
              <a:gd name="T10" fmla="*/ 1 w 7"/>
              <a:gd name="T11" fmla="*/ 2 h 4"/>
              <a:gd name="T12" fmla="*/ 1 w 7"/>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1" y="1"/>
                </a:moveTo>
                <a:cubicBezTo>
                  <a:pt x="1" y="1"/>
                  <a:pt x="1" y="1"/>
                  <a:pt x="1" y="1"/>
                </a:cubicBezTo>
                <a:cubicBezTo>
                  <a:pt x="3" y="0"/>
                  <a:pt x="3" y="1"/>
                  <a:pt x="4" y="2"/>
                </a:cubicBezTo>
                <a:cubicBezTo>
                  <a:pt x="5" y="2"/>
                  <a:pt x="5" y="2"/>
                  <a:pt x="6" y="2"/>
                </a:cubicBezTo>
                <a:cubicBezTo>
                  <a:pt x="7" y="3"/>
                  <a:pt x="7" y="2"/>
                  <a:pt x="7" y="3"/>
                </a:cubicBezTo>
                <a:cubicBezTo>
                  <a:pt x="4" y="4"/>
                  <a:pt x="4" y="3"/>
                  <a:pt x="1" y="2"/>
                </a:cubicBezTo>
                <a:cubicBezTo>
                  <a:pt x="2" y="1"/>
                  <a:pt x="0" y="2"/>
                  <a:pt x="1"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2" name="Freeform 28"/>
          <p:cNvSpPr/>
          <p:nvPr/>
        </p:nvSpPr>
        <p:spPr bwMode="auto">
          <a:xfrm>
            <a:off x="2225344" y="1824038"/>
            <a:ext cx="119063" cy="100012"/>
          </a:xfrm>
          <a:custGeom>
            <a:avLst/>
            <a:gdLst>
              <a:gd name="T0" fmla="*/ 4 w 12"/>
              <a:gd name="T1" fmla="*/ 2 h 10"/>
              <a:gd name="T2" fmla="*/ 4 w 12"/>
              <a:gd name="T3" fmla="*/ 2 h 10"/>
              <a:gd name="T4" fmla="*/ 9 w 12"/>
              <a:gd name="T5" fmla="*/ 0 h 10"/>
              <a:gd name="T6" fmla="*/ 10 w 12"/>
              <a:gd name="T7" fmla="*/ 2 h 10"/>
              <a:gd name="T8" fmla="*/ 9 w 12"/>
              <a:gd name="T9" fmla="*/ 3 h 10"/>
              <a:gd name="T10" fmla="*/ 12 w 12"/>
              <a:gd name="T11" fmla="*/ 4 h 10"/>
              <a:gd name="T12" fmla="*/ 12 w 12"/>
              <a:gd name="T13" fmla="*/ 8 h 10"/>
              <a:gd name="T14" fmla="*/ 11 w 12"/>
              <a:gd name="T15" fmla="*/ 8 h 10"/>
              <a:gd name="T16" fmla="*/ 11 w 12"/>
              <a:gd name="T17" fmla="*/ 9 h 10"/>
              <a:gd name="T18" fmla="*/ 9 w 12"/>
              <a:gd name="T19" fmla="*/ 9 h 10"/>
              <a:gd name="T20" fmla="*/ 8 w 12"/>
              <a:gd name="T21" fmla="*/ 10 h 10"/>
              <a:gd name="T22" fmla="*/ 6 w 12"/>
              <a:gd name="T23" fmla="*/ 8 h 10"/>
              <a:gd name="T24" fmla="*/ 5 w 12"/>
              <a:gd name="T25" fmla="*/ 7 h 10"/>
              <a:gd name="T26" fmla="*/ 4 w 12"/>
              <a:gd name="T27" fmla="*/ 6 h 10"/>
              <a:gd name="T28" fmla="*/ 2 w 12"/>
              <a:gd name="T29" fmla="*/ 5 h 10"/>
              <a:gd name="T30" fmla="*/ 0 w 12"/>
              <a:gd name="T31" fmla="*/ 4 h 10"/>
              <a:gd name="T32" fmla="*/ 5 w 12"/>
              <a:gd name="T33" fmla="*/ 5 h 10"/>
              <a:gd name="T34" fmla="*/ 6 w 12"/>
              <a:gd name="T35" fmla="*/ 3 h 10"/>
              <a:gd name="T36" fmla="*/ 4 w 12"/>
              <a:gd name="T37" fmla="*/ 2 h 10"/>
              <a:gd name="T38" fmla="*/ 4 w 12"/>
              <a:gd name="T3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0">
                <a:moveTo>
                  <a:pt x="4" y="2"/>
                </a:moveTo>
                <a:cubicBezTo>
                  <a:pt x="5" y="2"/>
                  <a:pt x="4" y="2"/>
                  <a:pt x="4" y="2"/>
                </a:cubicBezTo>
                <a:cubicBezTo>
                  <a:pt x="5" y="1"/>
                  <a:pt x="9" y="2"/>
                  <a:pt x="9" y="0"/>
                </a:cubicBezTo>
                <a:cubicBezTo>
                  <a:pt x="10" y="1"/>
                  <a:pt x="10" y="1"/>
                  <a:pt x="10" y="2"/>
                </a:cubicBezTo>
                <a:cubicBezTo>
                  <a:pt x="10" y="3"/>
                  <a:pt x="9" y="3"/>
                  <a:pt x="9" y="3"/>
                </a:cubicBezTo>
                <a:cubicBezTo>
                  <a:pt x="10" y="5"/>
                  <a:pt x="11" y="4"/>
                  <a:pt x="12" y="4"/>
                </a:cubicBezTo>
                <a:cubicBezTo>
                  <a:pt x="12" y="6"/>
                  <a:pt x="12" y="6"/>
                  <a:pt x="12" y="8"/>
                </a:cubicBezTo>
                <a:cubicBezTo>
                  <a:pt x="12" y="8"/>
                  <a:pt x="11" y="7"/>
                  <a:pt x="11" y="8"/>
                </a:cubicBezTo>
                <a:cubicBezTo>
                  <a:pt x="11" y="8"/>
                  <a:pt x="11" y="9"/>
                  <a:pt x="11" y="9"/>
                </a:cubicBezTo>
                <a:cubicBezTo>
                  <a:pt x="10" y="9"/>
                  <a:pt x="10" y="9"/>
                  <a:pt x="9" y="9"/>
                </a:cubicBezTo>
                <a:cubicBezTo>
                  <a:pt x="9" y="9"/>
                  <a:pt x="9" y="9"/>
                  <a:pt x="8" y="10"/>
                </a:cubicBezTo>
                <a:cubicBezTo>
                  <a:pt x="7" y="10"/>
                  <a:pt x="7" y="9"/>
                  <a:pt x="6" y="8"/>
                </a:cubicBezTo>
                <a:cubicBezTo>
                  <a:pt x="6" y="8"/>
                  <a:pt x="5" y="8"/>
                  <a:pt x="5" y="7"/>
                </a:cubicBezTo>
                <a:cubicBezTo>
                  <a:pt x="4" y="7"/>
                  <a:pt x="4" y="6"/>
                  <a:pt x="4" y="6"/>
                </a:cubicBezTo>
                <a:cubicBezTo>
                  <a:pt x="3" y="6"/>
                  <a:pt x="3" y="6"/>
                  <a:pt x="2" y="5"/>
                </a:cubicBezTo>
                <a:cubicBezTo>
                  <a:pt x="1" y="5"/>
                  <a:pt x="0" y="6"/>
                  <a:pt x="0" y="4"/>
                </a:cubicBezTo>
                <a:cubicBezTo>
                  <a:pt x="2" y="4"/>
                  <a:pt x="3" y="5"/>
                  <a:pt x="5" y="5"/>
                </a:cubicBezTo>
                <a:cubicBezTo>
                  <a:pt x="6" y="5"/>
                  <a:pt x="5" y="4"/>
                  <a:pt x="6" y="3"/>
                </a:cubicBezTo>
                <a:cubicBezTo>
                  <a:pt x="6" y="2"/>
                  <a:pt x="3" y="3"/>
                  <a:pt x="4" y="2"/>
                </a:cubicBezTo>
                <a:cubicBezTo>
                  <a:pt x="4" y="2"/>
                  <a:pt x="4" y="2"/>
                  <a:pt x="4"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3" name="Freeform 29"/>
          <p:cNvSpPr/>
          <p:nvPr/>
        </p:nvSpPr>
        <p:spPr bwMode="auto">
          <a:xfrm>
            <a:off x="2641269" y="1833563"/>
            <a:ext cx="68263" cy="30162"/>
          </a:xfrm>
          <a:custGeom>
            <a:avLst/>
            <a:gdLst>
              <a:gd name="T0" fmla="*/ 0 w 7"/>
              <a:gd name="T1" fmla="*/ 1 h 3"/>
              <a:gd name="T2" fmla="*/ 2 w 7"/>
              <a:gd name="T3" fmla="*/ 0 h 3"/>
              <a:gd name="T4" fmla="*/ 7 w 7"/>
              <a:gd name="T5" fmla="*/ 2 h 3"/>
              <a:gd name="T6" fmla="*/ 7 w 7"/>
              <a:gd name="T7" fmla="*/ 3 h 3"/>
              <a:gd name="T8" fmla="*/ 2 w 7"/>
              <a:gd name="T9" fmla="*/ 2 h 3"/>
              <a:gd name="T10" fmla="*/ 0 w 7"/>
              <a:gd name="T11" fmla="*/ 1 h 3"/>
            </a:gdLst>
            <a:ahLst/>
            <a:cxnLst>
              <a:cxn ang="0">
                <a:pos x="T0" y="T1"/>
              </a:cxn>
              <a:cxn ang="0">
                <a:pos x="T2" y="T3"/>
              </a:cxn>
              <a:cxn ang="0">
                <a:pos x="T4" y="T5"/>
              </a:cxn>
              <a:cxn ang="0">
                <a:pos x="T6" y="T7"/>
              </a:cxn>
              <a:cxn ang="0">
                <a:pos x="T8" y="T9"/>
              </a:cxn>
              <a:cxn ang="0">
                <a:pos x="T10" y="T11"/>
              </a:cxn>
            </a:cxnLst>
            <a:rect l="0" t="0" r="r" b="b"/>
            <a:pathLst>
              <a:path w="7" h="3">
                <a:moveTo>
                  <a:pt x="0" y="1"/>
                </a:moveTo>
                <a:cubicBezTo>
                  <a:pt x="1" y="0"/>
                  <a:pt x="2" y="0"/>
                  <a:pt x="2" y="0"/>
                </a:cubicBezTo>
                <a:cubicBezTo>
                  <a:pt x="4" y="0"/>
                  <a:pt x="6" y="1"/>
                  <a:pt x="7" y="2"/>
                </a:cubicBezTo>
                <a:cubicBezTo>
                  <a:pt x="7" y="2"/>
                  <a:pt x="7" y="3"/>
                  <a:pt x="7" y="3"/>
                </a:cubicBezTo>
                <a:cubicBezTo>
                  <a:pt x="4" y="3"/>
                  <a:pt x="3" y="3"/>
                  <a:pt x="2" y="2"/>
                </a:cubicBezTo>
                <a:cubicBezTo>
                  <a:pt x="1" y="1"/>
                  <a:pt x="1" y="0"/>
                  <a:pt x="0"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4" name="Freeform 30"/>
          <p:cNvSpPr/>
          <p:nvPr/>
        </p:nvSpPr>
        <p:spPr bwMode="auto">
          <a:xfrm>
            <a:off x="6802107" y="1833563"/>
            <a:ext cx="49213" cy="20637"/>
          </a:xfrm>
          <a:custGeom>
            <a:avLst/>
            <a:gdLst>
              <a:gd name="T0" fmla="*/ 5 w 5"/>
              <a:gd name="T1" fmla="*/ 2 h 2"/>
              <a:gd name="T2" fmla="*/ 0 w 5"/>
              <a:gd name="T3" fmla="*/ 1 h 2"/>
              <a:gd name="T4" fmla="*/ 2 w 5"/>
              <a:gd name="T5" fmla="*/ 0 h 2"/>
              <a:gd name="T6" fmla="*/ 5 w 5"/>
              <a:gd name="T7" fmla="*/ 2 h 2"/>
            </a:gdLst>
            <a:ahLst/>
            <a:cxnLst>
              <a:cxn ang="0">
                <a:pos x="T0" y="T1"/>
              </a:cxn>
              <a:cxn ang="0">
                <a:pos x="T2" y="T3"/>
              </a:cxn>
              <a:cxn ang="0">
                <a:pos x="T4" y="T5"/>
              </a:cxn>
              <a:cxn ang="0">
                <a:pos x="T6" y="T7"/>
              </a:cxn>
            </a:cxnLst>
            <a:rect l="0" t="0" r="r" b="b"/>
            <a:pathLst>
              <a:path w="5" h="2">
                <a:moveTo>
                  <a:pt x="5" y="2"/>
                </a:moveTo>
                <a:cubicBezTo>
                  <a:pt x="4" y="2"/>
                  <a:pt x="1" y="2"/>
                  <a:pt x="0" y="1"/>
                </a:cubicBezTo>
                <a:cubicBezTo>
                  <a:pt x="0" y="0"/>
                  <a:pt x="2" y="1"/>
                  <a:pt x="2" y="0"/>
                </a:cubicBezTo>
                <a:cubicBezTo>
                  <a:pt x="3" y="1"/>
                  <a:pt x="5" y="0"/>
                  <a:pt x="5"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5" name="Freeform 31"/>
          <p:cNvSpPr/>
          <p:nvPr/>
        </p:nvSpPr>
        <p:spPr bwMode="auto">
          <a:xfrm>
            <a:off x="3154032" y="1933575"/>
            <a:ext cx="39688" cy="30162"/>
          </a:xfrm>
          <a:custGeom>
            <a:avLst/>
            <a:gdLst>
              <a:gd name="T0" fmla="*/ 3 w 4"/>
              <a:gd name="T1" fmla="*/ 2 h 3"/>
              <a:gd name="T2" fmla="*/ 0 w 4"/>
              <a:gd name="T3" fmla="*/ 1 h 3"/>
              <a:gd name="T4" fmla="*/ 3 w 4"/>
              <a:gd name="T5" fmla="*/ 2 h 3"/>
            </a:gdLst>
            <a:ahLst/>
            <a:cxnLst>
              <a:cxn ang="0">
                <a:pos x="T0" y="T1"/>
              </a:cxn>
              <a:cxn ang="0">
                <a:pos x="T2" y="T3"/>
              </a:cxn>
              <a:cxn ang="0">
                <a:pos x="T4" y="T5"/>
              </a:cxn>
            </a:cxnLst>
            <a:rect l="0" t="0" r="r" b="b"/>
            <a:pathLst>
              <a:path w="4" h="3">
                <a:moveTo>
                  <a:pt x="3" y="2"/>
                </a:moveTo>
                <a:cubicBezTo>
                  <a:pt x="1" y="3"/>
                  <a:pt x="2" y="1"/>
                  <a:pt x="0" y="1"/>
                </a:cubicBezTo>
                <a:cubicBezTo>
                  <a:pt x="0" y="0"/>
                  <a:pt x="4" y="1"/>
                  <a:pt x="3"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6" name="Freeform 32"/>
          <p:cNvSpPr/>
          <p:nvPr/>
        </p:nvSpPr>
        <p:spPr bwMode="auto">
          <a:xfrm>
            <a:off x="3125457" y="1963738"/>
            <a:ext cx="58738" cy="30162"/>
          </a:xfrm>
          <a:custGeom>
            <a:avLst/>
            <a:gdLst>
              <a:gd name="T0" fmla="*/ 6 w 6"/>
              <a:gd name="T1" fmla="*/ 2 h 3"/>
              <a:gd name="T2" fmla="*/ 1 w 6"/>
              <a:gd name="T3" fmla="*/ 2 h 3"/>
              <a:gd name="T4" fmla="*/ 2 w 6"/>
              <a:gd name="T5" fmla="*/ 0 h 3"/>
              <a:gd name="T6" fmla="*/ 6 w 6"/>
              <a:gd name="T7" fmla="*/ 2 h 3"/>
            </a:gdLst>
            <a:ahLst/>
            <a:cxnLst>
              <a:cxn ang="0">
                <a:pos x="T0" y="T1"/>
              </a:cxn>
              <a:cxn ang="0">
                <a:pos x="T2" y="T3"/>
              </a:cxn>
              <a:cxn ang="0">
                <a:pos x="T4" y="T5"/>
              </a:cxn>
              <a:cxn ang="0">
                <a:pos x="T6" y="T7"/>
              </a:cxn>
            </a:cxnLst>
            <a:rect l="0" t="0" r="r" b="b"/>
            <a:pathLst>
              <a:path w="6" h="3">
                <a:moveTo>
                  <a:pt x="6" y="2"/>
                </a:moveTo>
                <a:cubicBezTo>
                  <a:pt x="5" y="3"/>
                  <a:pt x="1" y="3"/>
                  <a:pt x="1" y="2"/>
                </a:cubicBezTo>
                <a:cubicBezTo>
                  <a:pt x="0" y="0"/>
                  <a:pt x="2" y="1"/>
                  <a:pt x="2" y="0"/>
                </a:cubicBezTo>
                <a:cubicBezTo>
                  <a:pt x="3" y="1"/>
                  <a:pt x="4" y="1"/>
                  <a:pt x="6"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7" name="Freeform 33"/>
          <p:cNvSpPr/>
          <p:nvPr/>
        </p:nvSpPr>
        <p:spPr bwMode="auto">
          <a:xfrm>
            <a:off x="5062207" y="1982788"/>
            <a:ext cx="39688" cy="30162"/>
          </a:xfrm>
          <a:custGeom>
            <a:avLst/>
            <a:gdLst>
              <a:gd name="T0" fmla="*/ 2 w 4"/>
              <a:gd name="T1" fmla="*/ 0 h 3"/>
              <a:gd name="T2" fmla="*/ 4 w 4"/>
              <a:gd name="T3" fmla="*/ 2 h 3"/>
              <a:gd name="T4" fmla="*/ 1 w 4"/>
              <a:gd name="T5" fmla="*/ 3 h 3"/>
              <a:gd name="T6" fmla="*/ 1 w 4"/>
              <a:gd name="T7" fmla="*/ 1 h 3"/>
              <a:gd name="T8" fmla="*/ 2 w 4"/>
              <a:gd name="T9" fmla="*/ 0 h 3"/>
            </a:gdLst>
            <a:ahLst/>
            <a:cxnLst>
              <a:cxn ang="0">
                <a:pos x="T0" y="T1"/>
              </a:cxn>
              <a:cxn ang="0">
                <a:pos x="T2" y="T3"/>
              </a:cxn>
              <a:cxn ang="0">
                <a:pos x="T4" y="T5"/>
              </a:cxn>
              <a:cxn ang="0">
                <a:pos x="T6" y="T7"/>
              </a:cxn>
              <a:cxn ang="0">
                <a:pos x="T8" y="T9"/>
              </a:cxn>
            </a:cxnLst>
            <a:rect l="0" t="0" r="r" b="b"/>
            <a:pathLst>
              <a:path w="4" h="3">
                <a:moveTo>
                  <a:pt x="2" y="0"/>
                </a:moveTo>
                <a:cubicBezTo>
                  <a:pt x="3" y="0"/>
                  <a:pt x="4" y="1"/>
                  <a:pt x="4" y="2"/>
                </a:cubicBezTo>
                <a:cubicBezTo>
                  <a:pt x="3" y="2"/>
                  <a:pt x="1" y="2"/>
                  <a:pt x="1" y="3"/>
                </a:cubicBezTo>
                <a:cubicBezTo>
                  <a:pt x="0" y="3"/>
                  <a:pt x="1" y="1"/>
                  <a:pt x="1" y="1"/>
                </a:cubicBezTo>
                <a:cubicBezTo>
                  <a:pt x="1" y="1"/>
                  <a:pt x="2" y="0"/>
                  <a:pt x="2"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8" name="Freeform 34"/>
          <p:cNvSpPr/>
          <p:nvPr/>
        </p:nvSpPr>
        <p:spPr bwMode="auto">
          <a:xfrm>
            <a:off x="2126919" y="2003425"/>
            <a:ext cx="30163" cy="19050"/>
          </a:xfrm>
          <a:custGeom>
            <a:avLst/>
            <a:gdLst>
              <a:gd name="T0" fmla="*/ 3 w 3"/>
              <a:gd name="T1" fmla="*/ 2 h 2"/>
              <a:gd name="T2" fmla="*/ 0 w 3"/>
              <a:gd name="T3" fmla="*/ 2 h 2"/>
              <a:gd name="T4" fmla="*/ 3 w 3"/>
              <a:gd name="T5" fmla="*/ 2 h 2"/>
            </a:gdLst>
            <a:ahLst/>
            <a:cxnLst>
              <a:cxn ang="0">
                <a:pos x="T0" y="T1"/>
              </a:cxn>
              <a:cxn ang="0">
                <a:pos x="T2" y="T3"/>
              </a:cxn>
              <a:cxn ang="0">
                <a:pos x="T4" y="T5"/>
              </a:cxn>
            </a:cxnLst>
            <a:rect l="0" t="0" r="r" b="b"/>
            <a:pathLst>
              <a:path w="3" h="2">
                <a:moveTo>
                  <a:pt x="3" y="2"/>
                </a:moveTo>
                <a:cubicBezTo>
                  <a:pt x="1" y="2"/>
                  <a:pt x="1" y="2"/>
                  <a:pt x="0" y="2"/>
                </a:cubicBezTo>
                <a:cubicBezTo>
                  <a:pt x="0" y="1"/>
                  <a:pt x="3" y="0"/>
                  <a:pt x="3"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9" name="Freeform 35"/>
          <p:cNvSpPr/>
          <p:nvPr/>
        </p:nvSpPr>
        <p:spPr bwMode="auto">
          <a:xfrm>
            <a:off x="2700007" y="2022475"/>
            <a:ext cx="58738" cy="30162"/>
          </a:xfrm>
          <a:custGeom>
            <a:avLst/>
            <a:gdLst>
              <a:gd name="T0" fmla="*/ 5 w 6"/>
              <a:gd name="T1" fmla="*/ 0 h 3"/>
              <a:gd name="T2" fmla="*/ 6 w 6"/>
              <a:gd name="T3" fmla="*/ 3 h 3"/>
              <a:gd name="T4" fmla="*/ 1 w 6"/>
              <a:gd name="T5" fmla="*/ 2 h 3"/>
              <a:gd name="T6" fmla="*/ 2 w 6"/>
              <a:gd name="T7" fmla="*/ 0 h 3"/>
              <a:gd name="T8" fmla="*/ 5 w 6"/>
              <a:gd name="T9" fmla="*/ 0 h 3"/>
            </a:gdLst>
            <a:ahLst/>
            <a:cxnLst>
              <a:cxn ang="0">
                <a:pos x="T0" y="T1"/>
              </a:cxn>
              <a:cxn ang="0">
                <a:pos x="T2" y="T3"/>
              </a:cxn>
              <a:cxn ang="0">
                <a:pos x="T4" y="T5"/>
              </a:cxn>
              <a:cxn ang="0">
                <a:pos x="T6" y="T7"/>
              </a:cxn>
              <a:cxn ang="0">
                <a:pos x="T8" y="T9"/>
              </a:cxn>
            </a:cxnLst>
            <a:rect l="0" t="0" r="r" b="b"/>
            <a:pathLst>
              <a:path w="6" h="3">
                <a:moveTo>
                  <a:pt x="5" y="0"/>
                </a:moveTo>
                <a:cubicBezTo>
                  <a:pt x="6" y="1"/>
                  <a:pt x="6" y="3"/>
                  <a:pt x="6" y="3"/>
                </a:cubicBezTo>
                <a:cubicBezTo>
                  <a:pt x="4" y="3"/>
                  <a:pt x="2" y="3"/>
                  <a:pt x="1" y="2"/>
                </a:cubicBezTo>
                <a:cubicBezTo>
                  <a:pt x="0" y="1"/>
                  <a:pt x="2" y="2"/>
                  <a:pt x="2" y="0"/>
                </a:cubicBezTo>
                <a:cubicBezTo>
                  <a:pt x="3" y="0"/>
                  <a:pt x="5" y="1"/>
                  <a:pt x="5"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0" name="Freeform 36"/>
          <p:cNvSpPr/>
          <p:nvPr/>
        </p:nvSpPr>
        <p:spPr bwMode="auto">
          <a:xfrm>
            <a:off x="2680957" y="2122488"/>
            <a:ext cx="68263" cy="30162"/>
          </a:xfrm>
          <a:custGeom>
            <a:avLst/>
            <a:gdLst>
              <a:gd name="T0" fmla="*/ 7 w 7"/>
              <a:gd name="T1" fmla="*/ 1 h 3"/>
              <a:gd name="T2" fmla="*/ 5 w 7"/>
              <a:gd name="T3" fmla="*/ 2 h 3"/>
              <a:gd name="T4" fmla="*/ 3 w 7"/>
              <a:gd name="T5" fmla="*/ 2 h 3"/>
              <a:gd name="T6" fmla="*/ 1 w 7"/>
              <a:gd name="T7" fmla="*/ 2 h 3"/>
              <a:gd name="T8" fmla="*/ 2 w 7"/>
              <a:gd name="T9" fmla="*/ 1 h 3"/>
              <a:gd name="T10" fmla="*/ 3 w 7"/>
              <a:gd name="T11" fmla="*/ 0 h 3"/>
              <a:gd name="T12" fmla="*/ 7 w 7"/>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1"/>
                </a:moveTo>
                <a:cubicBezTo>
                  <a:pt x="7" y="2"/>
                  <a:pt x="6" y="2"/>
                  <a:pt x="5" y="2"/>
                </a:cubicBezTo>
                <a:cubicBezTo>
                  <a:pt x="5" y="2"/>
                  <a:pt x="3" y="3"/>
                  <a:pt x="3" y="2"/>
                </a:cubicBezTo>
                <a:cubicBezTo>
                  <a:pt x="3" y="2"/>
                  <a:pt x="2" y="2"/>
                  <a:pt x="1" y="2"/>
                </a:cubicBezTo>
                <a:cubicBezTo>
                  <a:pt x="0" y="1"/>
                  <a:pt x="3" y="1"/>
                  <a:pt x="2" y="1"/>
                </a:cubicBezTo>
                <a:cubicBezTo>
                  <a:pt x="2" y="0"/>
                  <a:pt x="3" y="0"/>
                  <a:pt x="3" y="0"/>
                </a:cubicBezTo>
                <a:cubicBezTo>
                  <a:pt x="4" y="0"/>
                  <a:pt x="6" y="0"/>
                  <a:pt x="7"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1" name="Freeform 37"/>
          <p:cNvSpPr/>
          <p:nvPr/>
        </p:nvSpPr>
        <p:spPr bwMode="auto">
          <a:xfrm>
            <a:off x="2680957" y="2171700"/>
            <a:ext cx="38100" cy="9525"/>
          </a:xfrm>
          <a:custGeom>
            <a:avLst/>
            <a:gdLst>
              <a:gd name="T0" fmla="*/ 3 w 4"/>
              <a:gd name="T1" fmla="*/ 1 h 1"/>
              <a:gd name="T2" fmla="*/ 1 w 4"/>
              <a:gd name="T3" fmla="*/ 1 h 1"/>
              <a:gd name="T4" fmla="*/ 3 w 4"/>
              <a:gd name="T5" fmla="*/ 1 h 1"/>
            </a:gdLst>
            <a:ahLst/>
            <a:cxnLst>
              <a:cxn ang="0">
                <a:pos x="T0" y="T1"/>
              </a:cxn>
              <a:cxn ang="0">
                <a:pos x="T2" y="T3"/>
              </a:cxn>
              <a:cxn ang="0">
                <a:pos x="T4" y="T5"/>
              </a:cxn>
            </a:cxnLst>
            <a:rect l="0" t="0" r="r" b="b"/>
            <a:pathLst>
              <a:path w="4" h="1">
                <a:moveTo>
                  <a:pt x="3" y="1"/>
                </a:moveTo>
                <a:cubicBezTo>
                  <a:pt x="2" y="0"/>
                  <a:pt x="2" y="1"/>
                  <a:pt x="1" y="1"/>
                </a:cubicBezTo>
                <a:cubicBezTo>
                  <a:pt x="0" y="0"/>
                  <a:pt x="4" y="0"/>
                  <a:pt x="3"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2" name="Freeform 38"/>
          <p:cNvSpPr/>
          <p:nvPr/>
        </p:nvSpPr>
        <p:spPr bwMode="auto">
          <a:xfrm>
            <a:off x="2580944" y="2192338"/>
            <a:ext cx="39688" cy="19050"/>
          </a:xfrm>
          <a:custGeom>
            <a:avLst/>
            <a:gdLst>
              <a:gd name="T0" fmla="*/ 3 w 4"/>
              <a:gd name="T1" fmla="*/ 0 h 2"/>
              <a:gd name="T2" fmla="*/ 4 w 4"/>
              <a:gd name="T3" fmla="*/ 1 h 2"/>
              <a:gd name="T4" fmla="*/ 2 w 4"/>
              <a:gd name="T5" fmla="*/ 1 h 2"/>
              <a:gd name="T6" fmla="*/ 0 w 4"/>
              <a:gd name="T7" fmla="*/ 1 h 2"/>
              <a:gd name="T8" fmla="*/ 3 w 4"/>
              <a:gd name="T9" fmla="*/ 0 h 2"/>
            </a:gdLst>
            <a:ahLst/>
            <a:cxnLst>
              <a:cxn ang="0">
                <a:pos x="T0" y="T1"/>
              </a:cxn>
              <a:cxn ang="0">
                <a:pos x="T2" y="T3"/>
              </a:cxn>
              <a:cxn ang="0">
                <a:pos x="T4" y="T5"/>
              </a:cxn>
              <a:cxn ang="0">
                <a:pos x="T6" y="T7"/>
              </a:cxn>
              <a:cxn ang="0">
                <a:pos x="T8" y="T9"/>
              </a:cxn>
            </a:cxnLst>
            <a:rect l="0" t="0" r="r" b="b"/>
            <a:pathLst>
              <a:path w="4" h="2">
                <a:moveTo>
                  <a:pt x="3" y="0"/>
                </a:moveTo>
                <a:cubicBezTo>
                  <a:pt x="3" y="1"/>
                  <a:pt x="3" y="1"/>
                  <a:pt x="4" y="1"/>
                </a:cubicBezTo>
                <a:cubicBezTo>
                  <a:pt x="4" y="2"/>
                  <a:pt x="2" y="1"/>
                  <a:pt x="2" y="1"/>
                </a:cubicBezTo>
                <a:cubicBezTo>
                  <a:pt x="1" y="2"/>
                  <a:pt x="2" y="1"/>
                  <a:pt x="0" y="1"/>
                </a:cubicBezTo>
                <a:cubicBezTo>
                  <a:pt x="1" y="1"/>
                  <a:pt x="1" y="0"/>
                  <a:pt x="3"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3" name="Freeform 39"/>
          <p:cNvSpPr/>
          <p:nvPr/>
        </p:nvSpPr>
        <p:spPr bwMode="auto">
          <a:xfrm>
            <a:off x="2650794" y="2211388"/>
            <a:ext cx="9525" cy="20637"/>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0"/>
                  <a:pt x="1" y="1"/>
                  <a:pt x="1" y="2"/>
                </a:cubicBezTo>
                <a:cubicBezTo>
                  <a:pt x="0" y="2"/>
                  <a:pt x="0" y="1"/>
                  <a:pt x="0"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4" name="Freeform 40"/>
          <p:cNvSpPr/>
          <p:nvPr/>
        </p:nvSpPr>
        <p:spPr bwMode="auto">
          <a:xfrm>
            <a:off x="3974769" y="2400300"/>
            <a:ext cx="79375" cy="100012"/>
          </a:xfrm>
          <a:custGeom>
            <a:avLst/>
            <a:gdLst>
              <a:gd name="T0" fmla="*/ 3 w 8"/>
              <a:gd name="T1" fmla="*/ 1 h 10"/>
              <a:gd name="T2" fmla="*/ 3 w 8"/>
              <a:gd name="T3" fmla="*/ 1 h 10"/>
              <a:gd name="T4" fmla="*/ 6 w 8"/>
              <a:gd name="T5" fmla="*/ 1 h 10"/>
              <a:gd name="T6" fmla="*/ 8 w 8"/>
              <a:gd name="T7" fmla="*/ 2 h 10"/>
              <a:gd name="T8" fmla="*/ 7 w 8"/>
              <a:gd name="T9" fmla="*/ 3 h 10"/>
              <a:gd name="T10" fmla="*/ 6 w 8"/>
              <a:gd name="T11" fmla="*/ 3 h 10"/>
              <a:gd name="T12" fmla="*/ 7 w 8"/>
              <a:gd name="T13" fmla="*/ 6 h 10"/>
              <a:gd name="T14" fmla="*/ 7 w 8"/>
              <a:gd name="T15" fmla="*/ 8 h 10"/>
              <a:gd name="T16" fmla="*/ 4 w 8"/>
              <a:gd name="T17" fmla="*/ 8 h 10"/>
              <a:gd name="T18" fmla="*/ 4 w 8"/>
              <a:gd name="T19" fmla="*/ 9 h 10"/>
              <a:gd name="T20" fmla="*/ 3 w 8"/>
              <a:gd name="T21" fmla="*/ 10 h 10"/>
              <a:gd name="T22" fmla="*/ 0 w 8"/>
              <a:gd name="T23" fmla="*/ 10 h 10"/>
              <a:gd name="T24" fmla="*/ 1 w 8"/>
              <a:gd name="T25" fmla="*/ 8 h 10"/>
              <a:gd name="T26" fmla="*/ 1 w 8"/>
              <a:gd name="T27" fmla="*/ 6 h 10"/>
              <a:gd name="T28" fmla="*/ 0 w 8"/>
              <a:gd name="T29" fmla="*/ 3 h 10"/>
              <a:gd name="T30" fmla="*/ 2 w 8"/>
              <a:gd name="T31" fmla="*/ 4 h 10"/>
              <a:gd name="T32" fmla="*/ 3 w 8"/>
              <a:gd name="T33"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0">
                <a:moveTo>
                  <a:pt x="3" y="1"/>
                </a:moveTo>
                <a:cubicBezTo>
                  <a:pt x="3" y="0"/>
                  <a:pt x="3" y="1"/>
                  <a:pt x="3" y="1"/>
                </a:cubicBezTo>
                <a:cubicBezTo>
                  <a:pt x="3" y="2"/>
                  <a:pt x="5" y="1"/>
                  <a:pt x="6" y="1"/>
                </a:cubicBezTo>
                <a:cubicBezTo>
                  <a:pt x="7" y="2"/>
                  <a:pt x="7" y="2"/>
                  <a:pt x="8" y="2"/>
                </a:cubicBezTo>
                <a:cubicBezTo>
                  <a:pt x="8" y="2"/>
                  <a:pt x="8" y="3"/>
                  <a:pt x="7" y="3"/>
                </a:cubicBezTo>
                <a:cubicBezTo>
                  <a:pt x="7" y="3"/>
                  <a:pt x="7" y="3"/>
                  <a:pt x="6" y="3"/>
                </a:cubicBezTo>
                <a:cubicBezTo>
                  <a:pt x="6" y="5"/>
                  <a:pt x="7" y="5"/>
                  <a:pt x="7" y="6"/>
                </a:cubicBezTo>
                <a:cubicBezTo>
                  <a:pt x="7" y="6"/>
                  <a:pt x="7" y="7"/>
                  <a:pt x="7" y="8"/>
                </a:cubicBezTo>
                <a:cubicBezTo>
                  <a:pt x="6" y="8"/>
                  <a:pt x="5" y="8"/>
                  <a:pt x="4" y="8"/>
                </a:cubicBezTo>
                <a:cubicBezTo>
                  <a:pt x="4" y="8"/>
                  <a:pt x="4" y="9"/>
                  <a:pt x="4" y="9"/>
                </a:cubicBezTo>
                <a:cubicBezTo>
                  <a:pt x="4" y="10"/>
                  <a:pt x="3" y="9"/>
                  <a:pt x="3" y="10"/>
                </a:cubicBezTo>
                <a:cubicBezTo>
                  <a:pt x="2" y="10"/>
                  <a:pt x="1" y="10"/>
                  <a:pt x="0" y="10"/>
                </a:cubicBezTo>
                <a:cubicBezTo>
                  <a:pt x="1" y="9"/>
                  <a:pt x="0" y="7"/>
                  <a:pt x="1" y="8"/>
                </a:cubicBezTo>
                <a:cubicBezTo>
                  <a:pt x="1" y="6"/>
                  <a:pt x="0" y="7"/>
                  <a:pt x="1" y="6"/>
                </a:cubicBezTo>
                <a:cubicBezTo>
                  <a:pt x="2" y="4"/>
                  <a:pt x="0" y="5"/>
                  <a:pt x="0" y="3"/>
                </a:cubicBezTo>
                <a:cubicBezTo>
                  <a:pt x="1" y="3"/>
                  <a:pt x="2" y="4"/>
                  <a:pt x="2" y="4"/>
                </a:cubicBezTo>
                <a:cubicBezTo>
                  <a:pt x="3" y="4"/>
                  <a:pt x="2" y="2"/>
                  <a:pt x="3"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5" name="Freeform 41"/>
          <p:cNvSpPr/>
          <p:nvPr/>
        </p:nvSpPr>
        <p:spPr bwMode="auto">
          <a:xfrm>
            <a:off x="1060119" y="2409825"/>
            <a:ext cx="28575" cy="20637"/>
          </a:xfrm>
          <a:custGeom>
            <a:avLst/>
            <a:gdLst>
              <a:gd name="T0" fmla="*/ 3 w 3"/>
              <a:gd name="T1" fmla="*/ 0 h 2"/>
              <a:gd name="T2" fmla="*/ 2 w 3"/>
              <a:gd name="T3" fmla="*/ 1 h 2"/>
              <a:gd name="T4" fmla="*/ 0 w 3"/>
              <a:gd name="T5" fmla="*/ 1 h 2"/>
              <a:gd name="T6" fmla="*/ 3 w 3"/>
              <a:gd name="T7" fmla="*/ 0 h 2"/>
            </a:gdLst>
            <a:ahLst/>
            <a:cxnLst>
              <a:cxn ang="0">
                <a:pos x="T0" y="T1"/>
              </a:cxn>
              <a:cxn ang="0">
                <a:pos x="T2" y="T3"/>
              </a:cxn>
              <a:cxn ang="0">
                <a:pos x="T4" y="T5"/>
              </a:cxn>
              <a:cxn ang="0">
                <a:pos x="T6" y="T7"/>
              </a:cxn>
            </a:cxnLst>
            <a:rect l="0" t="0" r="r" b="b"/>
            <a:pathLst>
              <a:path w="3" h="2">
                <a:moveTo>
                  <a:pt x="3" y="0"/>
                </a:moveTo>
                <a:cubicBezTo>
                  <a:pt x="3" y="1"/>
                  <a:pt x="2" y="1"/>
                  <a:pt x="2" y="1"/>
                </a:cubicBezTo>
                <a:cubicBezTo>
                  <a:pt x="2" y="2"/>
                  <a:pt x="1" y="2"/>
                  <a:pt x="0" y="1"/>
                </a:cubicBezTo>
                <a:cubicBezTo>
                  <a:pt x="1" y="0"/>
                  <a:pt x="2" y="0"/>
                  <a:pt x="3"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6" name="Freeform 42"/>
          <p:cNvSpPr/>
          <p:nvPr/>
        </p:nvSpPr>
        <p:spPr bwMode="auto">
          <a:xfrm>
            <a:off x="1661782" y="2430463"/>
            <a:ext cx="30163" cy="49212"/>
          </a:xfrm>
          <a:custGeom>
            <a:avLst/>
            <a:gdLst>
              <a:gd name="T0" fmla="*/ 1 w 3"/>
              <a:gd name="T1" fmla="*/ 0 h 5"/>
              <a:gd name="T2" fmla="*/ 3 w 3"/>
              <a:gd name="T3" fmla="*/ 3 h 5"/>
              <a:gd name="T4" fmla="*/ 1 w 3"/>
              <a:gd name="T5" fmla="*/ 2 h 5"/>
              <a:gd name="T6" fmla="*/ 1 w 3"/>
              <a:gd name="T7" fmla="*/ 0 h 5"/>
            </a:gdLst>
            <a:ahLst/>
            <a:cxnLst>
              <a:cxn ang="0">
                <a:pos x="T0" y="T1"/>
              </a:cxn>
              <a:cxn ang="0">
                <a:pos x="T2" y="T3"/>
              </a:cxn>
              <a:cxn ang="0">
                <a:pos x="T4" y="T5"/>
              </a:cxn>
              <a:cxn ang="0">
                <a:pos x="T6" y="T7"/>
              </a:cxn>
            </a:cxnLst>
            <a:rect l="0" t="0" r="r" b="b"/>
            <a:pathLst>
              <a:path w="3" h="5">
                <a:moveTo>
                  <a:pt x="1" y="0"/>
                </a:moveTo>
                <a:cubicBezTo>
                  <a:pt x="2" y="1"/>
                  <a:pt x="2" y="3"/>
                  <a:pt x="3" y="3"/>
                </a:cubicBezTo>
                <a:cubicBezTo>
                  <a:pt x="3" y="5"/>
                  <a:pt x="1" y="3"/>
                  <a:pt x="1" y="2"/>
                </a:cubicBezTo>
                <a:cubicBezTo>
                  <a:pt x="0" y="2"/>
                  <a:pt x="0" y="0"/>
                  <a:pt x="1"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7" name="Freeform 43"/>
          <p:cNvSpPr/>
          <p:nvPr/>
        </p:nvSpPr>
        <p:spPr bwMode="auto">
          <a:xfrm>
            <a:off x="6830682" y="2409825"/>
            <a:ext cx="39688" cy="219075"/>
          </a:xfrm>
          <a:custGeom>
            <a:avLst/>
            <a:gdLst>
              <a:gd name="T0" fmla="*/ 1 w 4"/>
              <a:gd name="T1" fmla="*/ 2 h 22"/>
              <a:gd name="T2" fmla="*/ 2 w 4"/>
              <a:gd name="T3" fmla="*/ 6 h 22"/>
              <a:gd name="T4" fmla="*/ 2 w 4"/>
              <a:gd name="T5" fmla="*/ 7 h 22"/>
              <a:gd name="T6" fmla="*/ 2 w 4"/>
              <a:gd name="T7" fmla="*/ 9 h 22"/>
              <a:gd name="T8" fmla="*/ 3 w 4"/>
              <a:gd name="T9" fmla="*/ 13 h 22"/>
              <a:gd name="T10" fmla="*/ 4 w 4"/>
              <a:gd name="T11" fmla="*/ 14 h 22"/>
              <a:gd name="T12" fmla="*/ 2 w 4"/>
              <a:gd name="T13" fmla="*/ 15 h 22"/>
              <a:gd name="T14" fmla="*/ 2 w 4"/>
              <a:gd name="T15" fmla="*/ 18 h 22"/>
              <a:gd name="T16" fmla="*/ 2 w 4"/>
              <a:gd name="T17" fmla="*/ 18 h 22"/>
              <a:gd name="T18" fmla="*/ 2 w 4"/>
              <a:gd name="T19" fmla="*/ 21 h 22"/>
              <a:gd name="T20" fmla="*/ 0 w 4"/>
              <a:gd name="T21" fmla="*/ 21 h 22"/>
              <a:gd name="T22" fmla="*/ 1 w 4"/>
              <a:gd name="T23" fmla="*/ 18 h 22"/>
              <a:gd name="T24" fmla="*/ 0 w 4"/>
              <a:gd name="T25" fmla="*/ 17 h 22"/>
              <a:gd name="T26" fmla="*/ 1 w 4"/>
              <a:gd name="T27" fmla="*/ 11 h 22"/>
              <a:gd name="T28" fmla="*/ 0 w 4"/>
              <a:gd name="T29" fmla="*/ 9 h 22"/>
              <a:gd name="T30" fmla="*/ 0 w 4"/>
              <a:gd name="T31" fmla="*/ 6 h 22"/>
              <a:gd name="T32" fmla="*/ 1 w 4"/>
              <a:gd name="T33" fmla="*/ 4 h 22"/>
              <a:gd name="T34" fmla="*/ 2 w 4"/>
              <a:gd name="T35" fmla="*/ 3 h 22"/>
              <a:gd name="T36" fmla="*/ 1 w 4"/>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22">
                <a:moveTo>
                  <a:pt x="1" y="2"/>
                </a:moveTo>
                <a:cubicBezTo>
                  <a:pt x="3" y="0"/>
                  <a:pt x="1" y="5"/>
                  <a:pt x="2" y="6"/>
                </a:cubicBezTo>
                <a:cubicBezTo>
                  <a:pt x="3" y="6"/>
                  <a:pt x="1" y="6"/>
                  <a:pt x="2" y="7"/>
                </a:cubicBezTo>
                <a:cubicBezTo>
                  <a:pt x="3" y="8"/>
                  <a:pt x="2" y="8"/>
                  <a:pt x="2" y="9"/>
                </a:cubicBezTo>
                <a:cubicBezTo>
                  <a:pt x="2" y="9"/>
                  <a:pt x="3" y="11"/>
                  <a:pt x="3" y="13"/>
                </a:cubicBezTo>
                <a:cubicBezTo>
                  <a:pt x="3" y="14"/>
                  <a:pt x="4" y="14"/>
                  <a:pt x="4" y="14"/>
                </a:cubicBezTo>
                <a:cubicBezTo>
                  <a:pt x="4" y="16"/>
                  <a:pt x="3" y="16"/>
                  <a:pt x="2" y="15"/>
                </a:cubicBezTo>
                <a:cubicBezTo>
                  <a:pt x="2" y="16"/>
                  <a:pt x="2" y="18"/>
                  <a:pt x="2" y="18"/>
                </a:cubicBezTo>
                <a:cubicBezTo>
                  <a:pt x="2" y="18"/>
                  <a:pt x="2" y="18"/>
                  <a:pt x="2" y="18"/>
                </a:cubicBezTo>
                <a:cubicBezTo>
                  <a:pt x="2" y="19"/>
                  <a:pt x="3" y="20"/>
                  <a:pt x="2" y="21"/>
                </a:cubicBezTo>
                <a:cubicBezTo>
                  <a:pt x="1" y="21"/>
                  <a:pt x="1" y="22"/>
                  <a:pt x="0" y="21"/>
                </a:cubicBezTo>
                <a:cubicBezTo>
                  <a:pt x="1" y="20"/>
                  <a:pt x="0" y="20"/>
                  <a:pt x="1" y="18"/>
                </a:cubicBezTo>
                <a:cubicBezTo>
                  <a:pt x="1" y="17"/>
                  <a:pt x="0" y="17"/>
                  <a:pt x="0" y="17"/>
                </a:cubicBezTo>
                <a:cubicBezTo>
                  <a:pt x="0" y="16"/>
                  <a:pt x="1" y="14"/>
                  <a:pt x="1" y="11"/>
                </a:cubicBezTo>
                <a:cubicBezTo>
                  <a:pt x="0" y="10"/>
                  <a:pt x="0" y="10"/>
                  <a:pt x="0" y="9"/>
                </a:cubicBezTo>
                <a:cubicBezTo>
                  <a:pt x="0" y="8"/>
                  <a:pt x="1" y="7"/>
                  <a:pt x="0" y="6"/>
                </a:cubicBezTo>
                <a:cubicBezTo>
                  <a:pt x="0" y="5"/>
                  <a:pt x="0" y="4"/>
                  <a:pt x="1" y="4"/>
                </a:cubicBezTo>
                <a:cubicBezTo>
                  <a:pt x="1" y="4"/>
                  <a:pt x="1" y="3"/>
                  <a:pt x="2" y="3"/>
                </a:cubicBezTo>
                <a:cubicBezTo>
                  <a:pt x="2" y="2"/>
                  <a:pt x="1" y="2"/>
                  <a:pt x="1"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8" name="Freeform 44"/>
          <p:cNvSpPr/>
          <p:nvPr/>
        </p:nvSpPr>
        <p:spPr bwMode="auto">
          <a:xfrm>
            <a:off x="1029957" y="2430463"/>
            <a:ext cx="9525" cy="19050"/>
          </a:xfrm>
          <a:custGeom>
            <a:avLst/>
            <a:gdLst>
              <a:gd name="T0" fmla="*/ 0 w 1"/>
              <a:gd name="T1" fmla="*/ 0 h 2"/>
              <a:gd name="T2" fmla="*/ 0 w 1"/>
              <a:gd name="T3" fmla="*/ 2 h 2"/>
              <a:gd name="T4" fmla="*/ 0 w 1"/>
              <a:gd name="T5" fmla="*/ 1 h 2"/>
              <a:gd name="T6" fmla="*/ 0 w 1"/>
              <a:gd name="T7" fmla="*/ 0 h 2"/>
            </a:gdLst>
            <a:ahLst/>
            <a:cxnLst>
              <a:cxn ang="0">
                <a:pos x="T0" y="T1"/>
              </a:cxn>
              <a:cxn ang="0">
                <a:pos x="T2" y="T3"/>
              </a:cxn>
              <a:cxn ang="0">
                <a:pos x="T4" y="T5"/>
              </a:cxn>
              <a:cxn ang="0">
                <a:pos x="T6" y="T7"/>
              </a:cxn>
            </a:cxnLst>
            <a:rect l="0" t="0" r="r" b="b"/>
            <a:pathLst>
              <a:path w="1" h="2">
                <a:moveTo>
                  <a:pt x="0" y="0"/>
                </a:moveTo>
                <a:cubicBezTo>
                  <a:pt x="1" y="0"/>
                  <a:pt x="1" y="2"/>
                  <a:pt x="0" y="2"/>
                </a:cubicBezTo>
                <a:cubicBezTo>
                  <a:pt x="0" y="1"/>
                  <a:pt x="0" y="1"/>
                  <a:pt x="0" y="1"/>
                </a:cubicBezTo>
                <a:cubicBezTo>
                  <a:pt x="0" y="1"/>
                  <a:pt x="0" y="1"/>
                  <a:pt x="0"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9" name="Freeform 45"/>
          <p:cNvSpPr/>
          <p:nvPr/>
        </p:nvSpPr>
        <p:spPr bwMode="auto">
          <a:xfrm>
            <a:off x="3046082" y="2509838"/>
            <a:ext cx="128588" cy="119062"/>
          </a:xfrm>
          <a:custGeom>
            <a:avLst/>
            <a:gdLst>
              <a:gd name="T0" fmla="*/ 6 w 13"/>
              <a:gd name="T1" fmla="*/ 0 h 12"/>
              <a:gd name="T2" fmla="*/ 7 w 13"/>
              <a:gd name="T3" fmla="*/ 1 h 12"/>
              <a:gd name="T4" fmla="*/ 7 w 13"/>
              <a:gd name="T5" fmla="*/ 3 h 12"/>
              <a:gd name="T6" fmla="*/ 8 w 13"/>
              <a:gd name="T7" fmla="*/ 4 h 12"/>
              <a:gd name="T8" fmla="*/ 11 w 13"/>
              <a:gd name="T9" fmla="*/ 4 h 12"/>
              <a:gd name="T10" fmla="*/ 11 w 13"/>
              <a:gd name="T11" fmla="*/ 6 h 12"/>
              <a:gd name="T12" fmla="*/ 12 w 13"/>
              <a:gd name="T13" fmla="*/ 7 h 12"/>
              <a:gd name="T14" fmla="*/ 13 w 13"/>
              <a:gd name="T15" fmla="*/ 8 h 12"/>
              <a:gd name="T16" fmla="*/ 12 w 13"/>
              <a:gd name="T17" fmla="*/ 11 h 12"/>
              <a:gd name="T18" fmla="*/ 12 w 13"/>
              <a:gd name="T19" fmla="*/ 10 h 12"/>
              <a:gd name="T20" fmla="*/ 9 w 13"/>
              <a:gd name="T21" fmla="*/ 10 h 12"/>
              <a:gd name="T22" fmla="*/ 7 w 13"/>
              <a:gd name="T23" fmla="*/ 11 h 12"/>
              <a:gd name="T24" fmla="*/ 6 w 13"/>
              <a:gd name="T25" fmla="*/ 10 h 12"/>
              <a:gd name="T26" fmla="*/ 5 w 13"/>
              <a:gd name="T27" fmla="*/ 10 h 12"/>
              <a:gd name="T28" fmla="*/ 3 w 13"/>
              <a:gd name="T29" fmla="*/ 8 h 12"/>
              <a:gd name="T30" fmla="*/ 0 w 13"/>
              <a:gd name="T31" fmla="*/ 9 h 12"/>
              <a:gd name="T32" fmla="*/ 0 w 13"/>
              <a:gd name="T33" fmla="*/ 7 h 12"/>
              <a:gd name="T34" fmla="*/ 2 w 13"/>
              <a:gd name="T35" fmla="*/ 6 h 12"/>
              <a:gd name="T36" fmla="*/ 3 w 13"/>
              <a:gd name="T37" fmla="*/ 4 h 12"/>
              <a:gd name="T38" fmla="*/ 3 w 13"/>
              <a:gd name="T39" fmla="*/ 2 h 12"/>
              <a:gd name="T40" fmla="*/ 4 w 13"/>
              <a:gd name="T41" fmla="*/ 2 h 12"/>
              <a:gd name="T42" fmla="*/ 4 w 13"/>
              <a:gd name="T43" fmla="*/ 1 h 12"/>
              <a:gd name="T44" fmla="*/ 6 w 13"/>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12">
                <a:moveTo>
                  <a:pt x="6" y="0"/>
                </a:moveTo>
                <a:cubicBezTo>
                  <a:pt x="6" y="0"/>
                  <a:pt x="6" y="1"/>
                  <a:pt x="7" y="1"/>
                </a:cubicBezTo>
                <a:cubicBezTo>
                  <a:pt x="7" y="2"/>
                  <a:pt x="6" y="2"/>
                  <a:pt x="7" y="3"/>
                </a:cubicBezTo>
                <a:cubicBezTo>
                  <a:pt x="6" y="4"/>
                  <a:pt x="8" y="3"/>
                  <a:pt x="8" y="4"/>
                </a:cubicBezTo>
                <a:cubicBezTo>
                  <a:pt x="9" y="4"/>
                  <a:pt x="9" y="5"/>
                  <a:pt x="11" y="4"/>
                </a:cubicBezTo>
                <a:cubicBezTo>
                  <a:pt x="11" y="6"/>
                  <a:pt x="12" y="6"/>
                  <a:pt x="11" y="6"/>
                </a:cubicBezTo>
                <a:cubicBezTo>
                  <a:pt x="11" y="7"/>
                  <a:pt x="12" y="7"/>
                  <a:pt x="12" y="7"/>
                </a:cubicBezTo>
                <a:cubicBezTo>
                  <a:pt x="13" y="7"/>
                  <a:pt x="12" y="9"/>
                  <a:pt x="13" y="8"/>
                </a:cubicBezTo>
                <a:cubicBezTo>
                  <a:pt x="13" y="10"/>
                  <a:pt x="12" y="9"/>
                  <a:pt x="12" y="11"/>
                </a:cubicBezTo>
                <a:cubicBezTo>
                  <a:pt x="12" y="11"/>
                  <a:pt x="12" y="10"/>
                  <a:pt x="12" y="10"/>
                </a:cubicBezTo>
                <a:cubicBezTo>
                  <a:pt x="10" y="10"/>
                  <a:pt x="10" y="10"/>
                  <a:pt x="9" y="10"/>
                </a:cubicBezTo>
                <a:cubicBezTo>
                  <a:pt x="8" y="10"/>
                  <a:pt x="7" y="10"/>
                  <a:pt x="7" y="11"/>
                </a:cubicBezTo>
                <a:cubicBezTo>
                  <a:pt x="6" y="12"/>
                  <a:pt x="6" y="10"/>
                  <a:pt x="6" y="10"/>
                </a:cubicBezTo>
                <a:cubicBezTo>
                  <a:pt x="6" y="10"/>
                  <a:pt x="5" y="10"/>
                  <a:pt x="5" y="10"/>
                </a:cubicBezTo>
                <a:cubicBezTo>
                  <a:pt x="4" y="9"/>
                  <a:pt x="4" y="8"/>
                  <a:pt x="3" y="8"/>
                </a:cubicBezTo>
                <a:cubicBezTo>
                  <a:pt x="1" y="8"/>
                  <a:pt x="1" y="9"/>
                  <a:pt x="0" y="9"/>
                </a:cubicBezTo>
                <a:cubicBezTo>
                  <a:pt x="0" y="8"/>
                  <a:pt x="0" y="8"/>
                  <a:pt x="0" y="7"/>
                </a:cubicBezTo>
                <a:cubicBezTo>
                  <a:pt x="2" y="7"/>
                  <a:pt x="0" y="5"/>
                  <a:pt x="2" y="6"/>
                </a:cubicBezTo>
                <a:cubicBezTo>
                  <a:pt x="1" y="5"/>
                  <a:pt x="3" y="5"/>
                  <a:pt x="3" y="4"/>
                </a:cubicBezTo>
                <a:cubicBezTo>
                  <a:pt x="3" y="3"/>
                  <a:pt x="3" y="2"/>
                  <a:pt x="3" y="2"/>
                </a:cubicBezTo>
                <a:cubicBezTo>
                  <a:pt x="3" y="2"/>
                  <a:pt x="4" y="2"/>
                  <a:pt x="4" y="2"/>
                </a:cubicBezTo>
                <a:cubicBezTo>
                  <a:pt x="4" y="2"/>
                  <a:pt x="4" y="1"/>
                  <a:pt x="4" y="1"/>
                </a:cubicBezTo>
                <a:cubicBezTo>
                  <a:pt x="5" y="0"/>
                  <a:pt x="6" y="1"/>
                  <a:pt x="6"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0" name="Freeform 46"/>
          <p:cNvSpPr/>
          <p:nvPr/>
        </p:nvSpPr>
        <p:spPr bwMode="auto">
          <a:xfrm>
            <a:off x="2966707" y="2540000"/>
            <a:ext cx="30163" cy="39687"/>
          </a:xfrm>
          <a:custGeom>
            <a:avLst/>
            <a:gdLst>
              <a:gd name="T0" fmla="*/ 0 w 3"/>
              <a:gd name="T1" fmla="*/ 1 h 4"/>
              <a:gd name="T2" fmla="*/ 3 w 3"/>
              <a:gd name="T3" fmla="*/ 2 h 4"/>
              <a:gd name="T4" fmla="*/ 0 w 3"/>
              <a:gd name="T5" fmla="*/ 1 h 4"/>
            </a:gdLst>
            <a:ahLst/>
            <a:cxnLst>
              <a:cxn ang="0">
                <a:pos x="T0" y="T1"/>
              </a:cxn>
              <a:cxn ang="0">
                <a:pos x="T2" y="T3"/>
              </a:cxn>
              <a:cxn ang="0">
                <a:pos x="T4" y="T5"/>
              </a:cxn>
            </a:cxnLst>
            <a:rect l="0" t="0" r="r" b="b"/>
            <a:pathLst>
              <a:path w="3" h="4">
                <a:moveTo>
                  <a:pt x="0" y="1"/>
                </a:moveTo>
                <a:cubicBezTo>
                  <a:pt x="2" y="0"/>
                  <a:pt x="2" y="2"/>
                  <a:pt x="3" y="2"/>
                </a:cubicBezTo>
                <a:cubicBezTo>
                  <a:pt x="3" y="4"/>
                  <a:pt x="0" y="2"/>
                  <a:pt x="0"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1" name="Freeform 47"/>
          <p:cNvSpPr/>
          <p:nvPr/>
        </p:nvSpPr>
        <p:spPr bwMode="auto">
          <a:xfrm>
            <a:off x="6811632" y="2659063"/>
            <a:ext cx="98425" cy="69850"/>
          </a:xfrm>
          <a:custGeom>
            <a:avLst/>
            <a:gdLst>
              <a:gd name="T0" fmla="*/ 3 w 10"/>
              <a:gd name="T1" fmla="*/ 0 h 7"/>
              <a:gd name="T2" fmla="*/ 3 w 10"/>
              <a:gd name="T3" fmla="*/ 1 h 7"/>
              <a:gd name="T4" fmla="*/ 5 w 10"/>
              <a:gd name="T5" fmla="*/ 3 h 7"/>
              <a:gd name="T6" fmla="*/ 10 w 10"/>
              <a:gd name="T7" fmla="*/ 2 h 7"/>
              <a:gd name="T8" fmla="*/ 8 w 10"/>
              <a:gd name="T9" fmla="*/ 5 h 7"/>
              <a:gd name="T10" fmla="*/ 6 w 10"/>
              <a:gd name="T11" fmla="*/ 4 h 7"/>
              <a:gd name="T12" fmla="*/ 4 w 10"/>
              <a:gd name="T13" fmla="*/ 5 h 7"/>
              <a:gd name="T14" fmla="*/ 4 w 10"/>
              <a:gd name="T15" fmla="*/ 7 h 7"/>
              <a:gd name="T16" fmla="*/ 2 w 10"/>
              <a:gd name="T17" fmla="*/ 6 h 7"/>
              <a:gd name="T18" fmla="*/ 3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3" y="0"/>
                </a:moveTo>
                <a:cubicBezTo>
                  <a:pt x="3" y="0"/>
                  <a:pt x="3" y="0"/>
                  <a:pt x="3" y="1"/>
                </a:cubicBezTo>
                <a:cubicBezTo>
                  <a:pt x="3" y="2"/>
                  <a:pt x="5" y="1"/>
                  <a:pt x="5" y="3"/>
                </a:cubicBezTo>
                <a:cubicBezTo>
                  <a:pt x="7" y="2"/>
                  <a:pt x="8" y="3"/>
                  <a:pt x="10" y="2"/>
                </a:cubicBezTo>
                <a:cubicBezTo>
                  <a:pt x="10" y="4"/>
                  <a:pt x="8" y="3"/>
                  <a:pt x="8" y="5"/>
                </a:cubicBezTo>
                <a:cubicBezTo>
                  <a:pt x="7" y="5"/>
                  <a:pt x="7" y="4"/>
                  <a:pt x="6" y="4"/>
                </a:cubicBezTo>
                <a:cubicBezTo>
                  <a:pt x="5" y="4"/>
                  <a:pt x="5" y="6"/>
                  <a:pt x="4" y="5"/>
                </a:cubicBezTo>
                <a:cubicBezTo>
                  <a:pt x="4" y="5"/>
                  <a:pt x="4" y="6"/>
                  <a:pt x="4" y="7"/>
                </a:cubicBezTo>
                <a:cubicBezTo>
                  <a:pt x="3" y="7"/>
                  <a:pt x="3" y="4"/>
                  <a:pt x="2" y="6"/>
                </a:cubicBezTo>
                <a:cubicBezTo>
                  <a:pt x="0" y="5"/>
                  <a:pt x="1" y="1"/>
                  <a:pt x="3"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2" name="Freeform 48"/>
          <p:cNvSpPr/>
          <p:nvPr/>
        </p:nvSpPr>
        <p:spPr bwMode="auto">
          <a:xfrm>
            <a:off x="6643357" y="2738438"/>
            <a:ext cx="187325" cy="168275"/>
          </a:xfrm>
          <a:custGeom>
            <a:avLst/>
            <a:gdLst>
              <a:gd name="T0" fmla="*/ 16 w 19"/>
              <a:gd name="T1" fmla="*/ 1 h 17"/>
              <a:gd name="T2" fmla="*/ 18 w 19"/>
              <a:gd name="T3" fmla="*/ 1 h 17"/>
              <a:gd name="T4" fmla="*/ 18 w 19"/>
              <a:gd name="T5" fmla="*/ 8 h 17"/>
              <a:gd name="T6" fmla="*/ 17 w 19"/>
              <a:gd name="T7" fmla="*/ 7 h 17"/>
              <a:gd name="T8" fmla="*/ 17 w 19"/>
              <a:gd name="T9" fmla="*/ 10 h 17"/>
              <a:gd name="T10" fmla="*/ 16 w 19"/>
              <a:gd name="T11" fmla="*/ 9 h 17"/>
              <a:gd name="T12" fmla="*/ 16 w 19"/>
              <a:gd name="T13" fmla="*/ 14 h 17"/>
              <a:gd name="T14" fmla="*/ 15 w 19"/>
              <a:gd name="T15" fmla="*/ 14 h 17"/>
              <a:gd name="T16" fmla="*/ 14 w 19"/>
              <a:gd name="T17" fmla="*/ 15 h 17"/>
              <a:gd name="T18" fmla="*/ 13 w 19"/>
              <a:gd name="T19" fmla="*/ 14 h 17"/>
              <a:gd name="T20" fmla="*/ 11 w 19"/>
              <a:gd name="T21" fmla="*/ 15 h 17"/>
              <a:gd name="T22" fmla="*/ 9 w 19"/>
              <a:gd name="T23" fmla="*/ 15 h 17"/>
              <a:gd name="T24" fmla="*/ 8 w 19"/>
              <a:gd name="T25" fmla="*/ 17 h 17"/>
              <a:gd name="T26" fmla="*/ 6 w 19"/>
              <a:gd name="T27" fmla="*/ 15 h 17"/>
              <a:gd name="T28" fmla="*/ 5 w 19"/>
              <a:gd name="T29" fmla="*/ 16 h 17"/>
              <a:gd name="T30" fmla="*/ 4 w 19"/>
              <a:gd name="T31" fmla="*/ 15 h 17"/>
              <a:gd name="T32" fmla="*/ 0 w 19"/>
              <a:gd name="T33" fmla="*/ 16 h 17"/>
              <a:gd name="T34" fmla="*/ 0 w 19"/>
              <a:gd name="T35" fmla="*/ 14 h 17"/>
              <a:gd name="T36" fmla="*/ 1 w 19"/>
              <a:gd name="T37" fmla="*/ 15 h 17"/>
              <a:gd name="T38" fmla="*/ 1 w 19"/>
              <a:gd name="T39" fmla="*/ 14 h 17"/>
              <a:gd name="T40" fmla="*/ 8 w 19"/>
              <a:gd name="T41" fmla="*/ 13 h 17"/>
              <a:gd name="T42" fmla="*/ 9 w 19"/>
              <a:gd name="T43" fmla="*/ 10 h 17"/>
              <a:gd name="T44" fmla="*/ 10 w 19"/>
              <a:gd name="T45" fmla="*/ 9 h 17"/>
              <a:gd name="T46" fmla="*/ 13 w 19"/>
              <a:gd name="T47" fmla="*/ 9 h 17"/>
              <a:gd name="T48" fmla="*/ 13 w 19"/>
              <a:gd name="T49" fmla="*/ 8 h 17"/>
              <a:gd name="T50" fmla="*/ 13 w 19"/>
              <a:gd name="T51" fmla="*/ 9 h 17"/>
              <a:gd name="T52" fmla="*/ 14 w 19"/>
              <a:gd name="T53" fmla="*/ 6 h 17"/>
              <a:gd name="T54" fmla="*/ 15 w 19"/>
              <a:gd name="T55" fmla="*/ 2 h 17"/>
              <a:gd name="T56" fmla="*/ 16 w 19"/>
              <a:gd name="T5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17">
                <a:moveTo>
                  <a:pt x="16" y="1"/>
                </a:moveTo>
                <a:cubicBezTo>
                  <a:pt x="17" y="0"/>
                  <a:pt x="17" y="1"/>
                  <a:pt x="18" y="1"/>
                </a:cubicBezTo>
                <a:cubicBezTo>
                  <a:pt x="18" y="4"/>
                  <a:pt x="19" y="6"/>
                  <a:pt x="18" y="8"/>
                </a:cubicBezTo>
                <a:cubicBezTo>
                  <a:pt x="17" y="8"/>
                  <a:pt x="17" y="8"/>
                  <a:pt x="17" y="7"/>
                </a:cubicBezTo>
                <a:cubicBezTo>
                  <a:pt x="16" y="8"/>
                  <a:pt x="17" y="9"/>
                  <a:pt x="17" y="10"/>
                </a:cubicBezTo>
                <a:cubicBezTo>
                  <a:pt x="17" y="10"/>
                  <a:pt x="17" y="9"/>
                  <a:pt x="16" y="9"/>
                </a:cubicBezTo>
                <a:cubicBezTo>
                  <a:pt x="16" y="11"/>
                  <a:pt x="16" y="13"/>
                  <a:pt x="16" y="14"/>
                </a:cubicBezTo>
                <a:cubicBezTo>
                  <a:pt x="16" y="14"/>
                  <a:pt x="16" y="14"/>
                  <a:pt x="15" y="14"/>
                </a:cubicBezTo>
                <a:cubicBezTo>
                  <a:pt x="15" y="13"/>
                  <a:pt x="14" y="15"/>
                  <a:pt x="14" y="15"/>
                </a:cubicBezTo>
                <a:cubicBezTo>
                  <a:pt x="14" y="15"/>
                  <a:pt x="13" y="14"/>
                  <a:pt x="13" y="14"/>
                </a:cubicBezTo>
                <a:cubicBezTo>
                  <a:pt x="13" y="14"/>
                  <a:pt x="12" y="14"/>
                  <a:pt x="11" y="15"/>
                </a:cubicBezTo>
                <a:cubicBezTo>
                  <a:pt x="11" y="15"/>
                  <a:pt x="10" y="15"/>
                  <a:pt x="9" y="15"/>
                </a:cubicBezTo>
                <a:cubicBezTo>
                  <a:pt x="8" y="15"/>
                  <a:pt x="9" y="17"/>
                  <a:pt x="8" y="17"/>
                </a:cubicBezTo>
                <a:cubicBezTo>
                  <a:pt x="7" y="17"/>
                  <a:pt x="6" y="16"/>
                  <a:pt x="6" y="15"/>
                </a:cubicBezTo>
                <a:cubicBezTo>
                  <a:pt x="5" y="14"/>
                  <a:pt x="5" y="15"/>
                  <a:pt x="5" y="16"/>
                </a:cubicBezTo>
                <a:cubicBezTo>
                  <a:pt x="5" y="16"/>
                  <a:pt x="4" y="15"/>
                  <a:pt x="4" y="15"/>
                </a:cubicBezTo>
                <a:cubicBezTo>
                  <a:pt x="3" y="15"/>
                  <a:pt x="1" y="17"/>
                  <a:pt x="0" y="16"/>
                </a:cubicBezTo>
                <a:cubicBezTo>
                  <a:pt x="0" y="16"/>
                  <a:pt x="0" y="15"/>
                  <a:pt x="0" y="14"/>
                </a:cubicBezTo>
                <a:cubicBezTo>
                  <a:pt x="1" y="14"/>
                  <a:pt x="1" y="15"/>
                  <a:pt x="1" y="15"/>
                </a:cubicBezTo>
                <a:cubicBezTo>
                  <a:pt x="1" y="15"/>
                  <a:pt x="1" y="14"/>
                  <a:pt x="1" y="14"/>
                </a:cubicBezTo>
                <a:cubicBezTo>
                  <a:pt x="3" y="13"/>
                  <a:pt x="6" y="14"/>
                  <a:pt x="8" y="13"/>
                </a:cubicBezTo>
                <a:cubicBezTo>
                  <a:pt x="7" y="11"/>
                  <a:pt x="9" y="12"/>
                  <a:pt x="9" y="10"/>
                </a:cubicBezTo>
                <a:cubicBezTo>
                  <a:pt x="10" y="11"/>
                  <a:pt x="10" y="10"/>
                  <a:pt x="10" y="9"/>
                </a:cubicBezTo>
                <a:cubicBezTo>
                  <a:pt x="11" y="10"/>
                  <a:pt x="12" y="8"/>
                  <a:pt x="13" y="9"/>
                </a:cubicBezTo>
                <a:cubicBezTo>
                  <a:pt x="13" y="9"/>
                  <a:pt x="12" y="8"/>
                  <a:pt x="13" y="8"/>
                </a:cubicBezTo>
                <a:cubicBezTo>
                  <a:pt x="13" y="7"/>
                  <a:pt x="13" y="9"/>
                  <a:pt x="13" y="9"/>
                </a:cubicBezTo>
                <a:cubicBezTo>
                  <a:pt x="13" y="9"/>
                  <a:pt x="15" y="8"/>
                  <a:pt x="14" y="6"/>
                </a:cubicBezTo>
                <a:cubicBezTo>
                  <a:pt x="15" y="6"/>
                  <a:pt x="14" y="4"/>
                  <a:pt x="15" y="2"/>
                </a:cubicBezTo>
                <a:cubicBezTo>
                  <a:pt x="15" y="2"/>
                  <a:pt x="17" y="2"/>
                  <a:pt x="16"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3" name="Freeform 49"/>
          <p:cNvSpPr/>
          <p:nvPr/>
        </p:nvSpPr>
        <p:spPr bwMode="auto">
          <a:xfrm>
            <a:off x="4320844" y="2757488"/>
            <a:ext cx="30163" cy="30162"/>
          </a:xfrm>
          <a:custGeom>
            <a:avLst/>
            <a:gdLst>
              <a:gd name="T0" fmla="*/ 1 w 3"/>
              <a:gd name="T1" fmla="*/ 0 h 3"/>
              <a:gd name="T2" fmla="*/ 0 w 3"/>
              <a:gd name="T3" fmla="*/ 3 h 3"/>
              <a:gd name="T4" fmla="*/ 1 w 3"/>
              <a:gd name="T5" fmla="*/ 0 h 3"/>
            </a:gdLst>
            <a:ahLst/>
            <a:cxnLst>
              <a:cxn ang="0">
                <a:pos x="T0" y="T1"/>
              </a:cxn>
              <a:cxn ang="0">
                <a:pos x="T2" y="T3"/>
              </a:cxn>
              <a:cxn ang="0">
                <a:pos x="T4" y="T5"/>
              </a:cxn>
            </a:cxnLst>
            <a:rect l="0" t="0" r="r" b="b"/>
            <a:pathLst>
              <a:path w="3" h="3">
                <a:moveTo>
                  <a:pt x="1" y="0"/>
                </a:moveTo>
                <a:cubicBezTo>
                  <a:pt x="3" y="0"/>
                  <a:pt x="3" y="3"/>
                  <a:pt x="0" y="3"/>
                </a:cubicBezTo>
                <a:cubicBezTo>
                  <a:pt x="1" y="2"/>
                  <a:pt x="0" y="0"/>
                  <a:pt x="1"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4" name="Freeform 50"/>
          <p:cNvSpPr/>
          <p:nvPr/>
        </p:nvSpPr>
        <p:spPr bwMode="auto">
          <a:xfrm>
            <a:off x="4400219" y="2808288"/>
            <a:ext cx="49213" cy="28575"/>
          </a:xfrm>
          <a:custGeom>
            <a:avLst/>
            <a:gdLst>
              <a:gd name="T0" fmla="*/ 4 w 5"/>
              <a:gd name="T1" fmla="*/ 1 h 3"/>
              <a:gd name="T2" fmla="*/ 5 w 5"/>
              <a:gd name="T3" fmla="*/ 3 h 3"/>
              <a:gd name="T4" fmla="*/ 3 w 5"/>
              <a:gd name="T5" fmla="*/ 3 h 3"/>
              <a:gd name="T6" fmla="*/ 3 w 5"/>
              <a:gd name="T7" fmla="*/ 2 h 3"/>
              <a:gd name="T8" fmla="*/ 1 w 5"/>
              <a:gd name="T9" fmla="*/ 2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5" y="1"/>
                  <a:pt x="5" y="2"/>
                  <a:pt x="5" y="3"/>
                </a:cubicBezTo>
                <a:cubicBezTo>
                  <a:pt x="4" y="3"/>
                  <a:pt x="3" y="3"/>
                  <a:pt x="3" y="3"/>
                </a:cubicBezTo>
                <a:cubicBezTo>
                  <a:pt x="3" y="3"/>
                  <a:pt x="3" y="2"/>
                  <a:pt x="3" y="2"/>
                </a:cubicBezTo>
                <a:cubicBezTo>
                  <a:pt x="2" y="2"/>
                  <a:pt x="1" y="3"/>
                  <a:pt x="1" y="2"/>
                </a:cubicBezTo>
                <a:cubicBezTo>
                  <a:pt x="0" y="0"/>
                  <a:pt x="4" y="2"/>
                  <a:pt x="4"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5" name="Freeform 51"/>
          <p:cNvSpPr/>
          <p:nvPr/>
        </p:nvSpPr>
        <p:spPr bwMode="auto">
          <a:xfrm>
            <a:off x="4774869" y="2867025"/>
            <a:ext cx="39688" cy="20637"/>
          </a:xfrm>
          <a:custGeom>
            <a:avLst/>
            <a:gdLst>
              <a:gd name="T0" fmla="*/ 0 w 4"/>
              <a:gd name="T1" fmla="*/ 2 h 2"/>
              <a:gd name="T2" fmla="*/ 2 w 4"/>
              <a:gd name="T3" fmla="*/ 1 h 2"/>
              <a:gd name="T4" fmla="*/ 1 w 4"/>
              <a:gd name="T5" fmla="*/ 1 h 2"/>
              <a:gd name="T6" fmla="*/ 0 w 4"/>
              <a:gd name="T7" fmla="*/ 2 h 2"/>
            </a:gdLst>
            <a:ahLst/>
            <a:cxnLst>
              <a:cxn ang="0">
                <a:pos x="T0" y="T1"/>
              </a:cxn>
              <a:cxn ang="0">
                <a:pos x="T2" y="T3"/>
              </a:cxn>
              <a:cxn ang="0">
                <a:pos x="T4" y="T5"/>
              </a:cxn>
              <a:cxn ang="0">
                <a:pos x="T6" y="T7"/>
              </a:cxn>
            </a:cxnLst>
            <a:rect l="0" t="0" r="r" b="b"/>
            <a:pathLst>
              <a:path w="4" h="2">
                <a:moveTo>
                  <a:pt x="0" y="2"/>
                </a:moveTo>
                <a:cubicBezTo>
                  <a:pt x="0" y="1"/>
                  <a:pt x="1" y="1"/>
                  <a:pt x="2" y="1"/>
                </a:cubicBezTo>
                <a:cubicBezTo>
                  <a:pt x="4" y="0"/>
                  <a:pt x="3" y="2"/>
                  <a:pt x="1" y="1"/>
                </a:cubicBezTo>
                <a:cubicBezTo>
                  <a:pt x="1" y="1"/>
                  <a:pt x="1" y="2"/>
                  <a:pt x="0"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6" name="Freeform 52"/>
          <p:cNvSpPr/>
          <p:nvPr/>
        </p:nvSpPr>
        <p:spPr bwMode="auto">
          <a:xfrm>
            <a:off x="6652882" y="2897188"/>
            <a:ext cx="39688" cy="19050"/>
          </a:xfrm>
          <a:custGeom>
            <a:avLst/>
            <a:gdLst>
              <a:gd name="T0" fmla="*/ 3 w 4"/>
              <a:gd name="T1" fmla="*/ 0 h 2"/>
              <a:gd name="T2" fmla="*/ 2 w 4"/>
              <a:gd name="T3" fmla="*/ 2 h 2"/>
              <a:gd name="T4" fmla="*/ 0 w 4"/>
              <a:gd name="T5" fmla="*/ 1 h 2"/>
              <a:gd name="T6" fmla="*/ 3 w 4"/>
              <a:gd name="T7" fmla="*/ 0 h 2"/>
            </a:gdLst>
            <a:ahLst/>
            <a:cxnLst>
              <a:cxn ang="0">
                <a:pos x="T0" y="T1"/>
              </a:cxn>
              <a:cxn ang="0">
                <a:pos x="T2" y="T3"/>
              </a:cxn>
              <a:cxn ang="0">
                <a:pos x="T4" y="T5"/>
              </a:cxn>
              <a:cxn ang="0">
                <a:pos x="T6" y="T7"/>
              </a:cxn>
            </a:cxnLst>
            <a:rect l="0" t="0" r="r" b="b"/>
            <a:pathLst>
              <a:path w="4" h="2">
                <a:moveTo>
                  <a:pt x="3" y="0"/>
                </a:moveTo>
                <a:cubicBezTo>
                  <a:pt x="4" y="2"/>
                  <a:pt x="2" y="1"/>
                  <a:pt x="2" y="2"/>
                </a:cubicBezTo>
                <a:cubicBezTo>
                  <a:pt x="1" y="2"/>
                  <a:pt x="0" y="2"/>
                  <a:pt x="0" y="1"/>
                </a:cubicBezTo>
                <a:cubicBezTo>
                  <a:pt x="2" y="2"/>
                  <a:pt x="2" y="0"/>
                  <a:pt x="3"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7" name="Freeform 53"/>
          <p:cNvSpPr/>
          <p:nvPr/>
        </p:nvSpPr>
        <p:spPr bwMode="auto">
          <a:xfrm>
            <a:off x="6594144" y="2906713"/>
            <a:ext cx="49213" cy="49212"/>
          </a:xfrm>
          <a:custGeom>
            <a:avLst/>
            <a:gdLst>
              <a:gd name="T0" fmla="*/ 5 w 5"/>
              <a:gd name="T1" fmla="*/ 0 h 5"/>
              <a:gd name="T2" fmla="*/ 5 w 5"/>
              <a:gd name="T3" fmla="*/ 4 h 5"/>
              <a:gd name="T4" fmla="*/ 2 w 5"/>
              <a:gd name="T5" fmla="*/ 4 h 5"/>
              <a:gd name="T6" fmla="*/ 0 w 5"/>
              <a:gd name="T7" fmla="*/ 2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5" y="2"/>
                  <a:pt x="3" y="3"/>
                  <a:pt x="5" y="4"/>
                </a:cubicBezTo>
                <a:cubicBezTo>
                  <a:pt x="4" y="5"/>
                  <a:pt x="3" y="4"/>
                  <a:pt x="2" y="4"/>
                </a:cubicBezTo>
                <a:cubicBezTo>
                  <a:pt x="2" y="2"/>
                  <a:pt x="2" y="1"/>
                  <a:pt x="0" y="2"/>
                </a:cubicBezTo>
                <a:cubicBezTo>
                  <a:pt x="0" y="0"/>
                  <a:pt x="3" y="0"/>
                  <a:pt x="5"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8" name="Freeform 54"/>
          <p:cNvSpPr/>
          <p:nvPr/>
        </p:nvSpPr>
        <p:spPr bwMode="auto">
          <a:xfrm>
            <a:off x="6425869" y="3086100"/>
            <a:ext cx="30163" cy="49212"/>
          </a:xfrm>
          <a:custGeom>
            <a:avLst/>
            <a:gdLst>
              <a:gd name="T0" fmla="*/ 2 w 3"/>
              <a:gd name="T1" fmla="*/ 2 h 5"/>
              <a:gd name="T2" fmla="*/ 1 w 3"/>
              <a:gd name="T3" fmla="*/ 5 h 5"/>
              <a:gd name="T4" fmla="*/ 0 w 3"/>
              <a:gd name="T5" fmla="*/ 5 h 5"/>
              <a:gd name="T6" fmla="*/ 0 w 3"/>
              <a:gd name="T7" fmla="*/ 2 h 5"/>
              <a:gd name="T8" fmla="*/ 2 w 3"/>
              <a:gd name="T9" fmla="*/ 2 h 5"/>
            </a:gdLst>
            <a:ahLst/>
            <a:cxnLst>
              <a:cxn ang="0">
                <a:pos x="T0" y="T1"/>
              </a:cxn>
              <a:cxn ang="0">
                <a:pos x="T2" y="T3"/>
              </a:cxn>
              <a:cxn ang="0">
                <a:pos x="T4" y="T5"/>
              </a:cxn>
              <a:cxn ang="0">
                <a:pos x="T6" y="T7"/>
              </a:cxn>
              <a:cxn ang="0">
                <a:pos x="T8" y="T9"/>
              </a:cxn>
            </a:cxnLst>
            <a:rect l="0" t="0" r="r" b="b"/>
            <a:pathLst>
              <a:path w="3" h="5">
                <a:moveTo>
                  <a:pt x="2" y="2"/>
                </a:moveTo>
                <a:cubicBezTo>
                  <a:pt x="3" y="3"/>
                  <a:pt x="1" y="3"/>
                  <a:pt x="1" y="5"/>
                </a:cubicBezTo>
                <a:cubicBezTo>
                  <a:pt x="1" y="5"/>
                  <a:pt x="0" y="5"/>
                  <a:pt x="0" y="5"/>
                </a:cubicBezTo>
                <a:cubicBezTo>
                  <a:pt x="0" y="4"/>
                  <a:pt x="1" y="2"/>
                  <a:pt x="0" y="2"/>
                </a:cubicBezTo>
                <a:cubicBezTo>
                  <a:pt x="1" y="1"/>
                  <a:pt x="3" y="0"/>
                  <a:pt x="2"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99" name="Freeform 55"/>
          <p:cNvSpPr/>
          <p:nvPr/>
        </p:nvSpPr>
        <p:spPr bwMode="auto">
          <a:xfrm>
            <a:off x="2087232" y="3105150"/>
            <a:ext cx="9525" cy="20637"/>
          </a:xfrm>
          <a:custGeom>
            <a:avLst/>
            <a:gdLst>
              <a:gd name="T0" fmla="*/ 0 w 1"/>
              <a:gd name="T1" fmla="*/ 1 h 2"/>
              <a:gd name="T2" fmla="*/ 1 w 1"/>
              <a:gd name="T3" fmla="*/ 0 h 2"/>
              <a:gd name="T4" fmla="*/ 1 w 1"/>
              <a:gd name="T5" fmla="*/ 2 h 2"/>
              <a:gd name="T6" fmla="*/ 0 w 1"/>
              <a:gd name="T7" fmla="*/ 2 h 2"/>
              <a:gd name="T8" fmla="*/ 0 w 1"/>
              <a:gd name="T9" fmla="*/ 1 h 2"/>
            </a:gdLst>
            <a:ahLst/>
            <a:cxnLst>
              <a:cxn ang="0">
                <a:pos x="T0" y="T1"/>
              </a:cxn>
              <a:cxn ang="0">
                <a:pos x="T2" y="T3"/>
              </a:cxn>
              <a:cxn ang="0">
                <a:pos x="T4" y="T5"/>
              </a:cxn>
              <a:cxn ang="0">
                <a:pos x="T6" y="T7"/>
              </a:cxn>
              <a:cxn ang="0">
                <a:pos x="T8" y="T9"/>
              </a:cxn>
            </a:cxnLst>
            <a:rect l="0" t="0" r="r" b="b"/>
            <a:pathLst>
              <a:path w="1" h="2">
                <a:moveTo>
                  <a:pt x="0" y="1"/>
                </a:moveTo>
                <a:cubicBezTo>
                  <a:pt x="0" y="0"/>
                  <a:pt x="1" y="1"/>
                  <a:pt x="1" y="0"/>
                </a:cubicBezTo>
                <a:cubicBezTo>
                  <a:pt x="1" y="1"/>
                  <a:pt x="1" y="1"/>
                  <a:pt x="1" y="2"/>
                </a:cubicBezTo>
                <a:cubicBezTo>
                  <a:pt x="1" y="2"/>
                  <a:pt x="0" y="2"/>
                  <a:pt x="0" y="2"/>
                </a:cubicBezTo>
                <a:cubicBezTo>
                  <a:pt x="0" y="1"/>
                  <a:pt x="0" y="1"/>
                  <a:pt x="0"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0" name="Freeform 56"/>
          <p:cNvSpPr/>
          <p:nvPr/>
        </p:nvSpPr>
        <p:spPr bwMode="auto">
          <a:xfrm>
            <a:off x="2571419" y="3125787"/>
            <a:ext cx="187325" cy="69850"/>
          </a:xfrm>
          <a:custGeom>
            <a:avLst/>
            <a:gdLst>
              <a:gd name="T0" fmla="*/ 19 w 19"/>
              <a:gd name="T1" fmla="*/ 5 h 7"/>
              <a:gd name="T2" fmla="*/ 14 w 19"/>
              <a:gd name="T3" fmla="*/ 6 h 7"/>
              <a:gd name="T4" fmla="*/ 13 w 19"/>
              <a:gd name="T5" fmla="*/ 4 h 7"/>
              <a:gd name="T6" fmla="*/ 8 w 19"/>
              <a:gd name="T7" fmla="*/ 3 h 7"/>
              <a:gd name="T8" fmla="*/ 8 w 19"/>
              <a:gd name="T9" fmla="*/ 2 h 7"/>
              <a:gd name="T10" fmla="*/ 3 w 19"/>
              <a:gd name="T11" fmla="*/ 2 h 7"/>
              <a:gd name="T12" fmla="*/ 0 w 19"/>
              <a:gd name="T13" fmla="*/ 3 h 7"/>
              <a:gd name="T14" fmla="*/ 2 w 19"/>
              <a:gd name="T15" fmla="*/ 0 h 7"/>
              <a:gd name="T16" fmla="*/ 6 w 19"/>
              <a:gd name="T17" fmla="*/ 0 h 7"/>
              <a:gd name="T18" fmla="*/ 7 w 19"/>
              <a:gd name="T19" fmla="*/ 1 h 7"/>
              <a:gd name="T20" fmla="*/ 9 w 19"/>
              <a:gd name="T21" fmla="*/ 1 h 7"/>
              <a:gd name="T22" fmla="*/ 13 w 19"/>
              <a:gd name="T23" fmla="*/ 2 h 7"/>
              <a:gd name="T24" fmla="*/ 14 w 19"/>
              <a:gd name="T25" fmla="*/ 4 h 7"/>
              <a:gd name="T26" fmla="*/ 15 w 19"/>
              <a:gd name="T27" fmla="*/ 5 h 7"/>
              <a:gd name="T28" fmla="*/ 19 w 19"/>
              <a:gd name="T2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7">
                <a:moveTo>
                  <a:pt x="19" y="5"/>
                </a:moveTo>
                <a:cubicBezTo>
                  <a:pt x="19" y="7"/>
                  <a:pt x="15" y="5"/>
                  <a:pt x="14" y="6"/>
                </a:cubicBezTo>
                <a:cubicBezTo>
                  <a:pt x="13" y="6"/>
                  <a:pt x="14" y="4"/>
                  <a:pt x="13" y="4"/>
                </a:cubicBezTo>
                <a:cubicBezTo>
                  <a:pt x="12" y="4"/>
                  <a:pt x="10" y="3"/>
                  <a:pt x="8" y="3"/>
                </a:cubicBezTo>
                <a:cubicBezTo>
                  <a:pt x="8" y="3"/>
                  <a:pt x="8" y="2"/>
                  <a:pt x="8" y="2"/>
                </a:cubicBezTo>
                <a:cubicBezTo>
                  <a:pt x="6" y="2"/>
                  <a:pt x="5" y="2"/>
                  <a:pt x="3" y="2"/>
                </a:cubicBezTo>
                <a:cubicBezTo>
                  <a:pt x="2" y="2"/>
                  <a:pt x="1" y="3"/>
                  <a:pt x="0" y="3"/>
                </a:cubicBezTo>
                <a:cubicBezTo>
                  <a:pt x="0" y="1"/>
                  <a:pt x="2" y="2"/>
                  <a:pt x="2" y="0"/>
                </a:cubicBezTo>
                <a:cubicBezTo>
                  <a:pt x="3" y="0"/>
                  <a:pt x="6" y="1"/>
                  <a:pt x="6" y="0"/>
                </a:cubicBezTo>
                <a:cubicBezTo>
                  <a:pt x="8" y="0"/>
                  <a:pt x="5" y="0"/>
                  <a:pt x="7" y="1"/>
                </a:cubicBezTo>
                <a:cubicBezTo>
                  <a:pt x="7" y="1"/>
                  <a:pt x="9" y="1"/>
                  <a:pt x="9" y="1"/>
                </a:cubicBezTo>
                <a:cubicBezTo>
                  <a:pt x="9" y="2"/>
                  <a:pt x="11" y="2"/>
                  <a:pt x="13" y="2"/>
                </a:cubicBezTo>
                <a:cubicBezTo>
                  <a:pt x="12" y="3"/>
                  <a:pt x="15" y="2"/>
                  <a:pt x="14" y="4"/>
                </a:cubicBezTo>
                <a:cubicBezTo>
                  <a:pt x="15" y="4"/>
                  <a:pt x="15" y="4"/>
                  <a:pt x="15" y="5"/>
                </a:cubicBezTo>
                <a:cubicBezTo>
                  <a:pt x="16" y="5"/>
                  <a:pt x="18" y="4"/>
                  <a:pt x="19" y="5"/>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1" name="Freeform 57"/>
          <p:cNvSpPr/>
          <p:nvPr/>
        </p:nvSpPr>
        <p:spPr bwMode="auto">
          <a:xfrm>
            <a:off x="2788907" y="3184525"/>
            <a:ext cx="79375" cy="50800"/>
          </a:xfrm>
          <a:custGeom>
            <a:avLst/>
            <a:gdLst>
              <a:gd name="T0" fmla="*/ 1 w 8"/>
              <a:gd name="T1" fmla="*/ 0 h 5"/>
              <a:gd name="T2" fmla="*/ 5 w 8"/>
              <a:gd name="T3" fmla="*/ 1 h 5"/>
              <a:gd name="T4" fmla="*/ 6 w 8"/>
              <a:gd name="T5" fmla="*/ 1 h 5"/>
              <a:gd name="T6" fmla="*/ 8 w 8"/>
              <a:gd name="T7" fmla="*/ 2 h 5"/>
              <a:gd name="T8" fmla="*/ 2 w 8"/>
              <a:gd name="T9" fmla="*/ 3 h 5"/>
              <a:gd name="T10" fmla="*/ 3 w 8"/>
              <a:gd name="T11" fmla="*/ 3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2" y="1"/>
                  <a:pt x="3" y="1"/>
                  <a:pt x="5" y="1"/>
                </a:cubicBezTo>
                <a:cubicBezTo>
                  <a:pt x="5" y="1"/>
                  <a:pt x="6" y="3"/>
                  <a:pt x="6" y="1"/>
                </a:cubicBezTo>
                <a:cubicBezTo>
                  <a:pt x="7" y="2"/>
                  <a:pt x="7" y="3"/>
                  <a:pt x="8" y="2"/>
                </a:cubicBezTo>
                <a:cubicBezTo>
                  <a:pt x="8" y="5"/>
                  <a:pt x="3" y="4"/>
                  <a:pt x="2" y="3"/>
                </a:cubicBezTo>
                <a:cubicBezTo>
                  <a:pt x="1" y="3"/>
                  <a:pt x="3" y="3"/>
                  <a:pt x="3" y="3"/>
                </a:cubicBezTo>
                <a:cubicBezTo>
                  <a:pt x="3" y="2"/>
                  <a:pt x="0" y="2"/>
                  <a:pt x="1"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2" name="Freeform 58"/>
          <p:cNvSpPr/>
          <p:nvPr/>
        </p:nvSpPr>
        <p:spPr bwMode="auto">
          <a:xfrm>
            <a:off x="6208382" y="3195637"/>
            <a:ext cx="30163" cy="28575"/>
          </a:xfrm>
          <a:custGeom>
            <a:avLst/>
            <a:gdLst>
              <a:gd name="T0" fmla="*/ 3 w 3"/>
              <a:gd name="T1" fmla="*/ 0 h 3"/>
              <a:gd name="T2" fmla="*/ 2 w 3"/>
              <a:gd name="T3" fmla="*/ 3 h 3"/>
              <a:gd name="T4" fmla="*/ 0 w 3"/>
              <a:gd name="T5" fmla="*/ 1 h 3"/>
              <a:gd name="T6" fmla="*/ 1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3" y="2"/>
                  <a:pt x="2" y="1"/>
                  <a:pt x="2" y="3"/>
                </a:cubicBezTo>
                <a:cubicBezTo>
                  <a:pt x="1" y="2"/>
                  <a:pt x="0" y="2"/>
                  <a:pt x="0" y="1"/>
                </a:cubicBezTo>
                <a:cubicBezTo>
                  <a:pt x="0" y="1"/>
                  <a:pt x="1" y="0"/>
                  <a:pt x="1" y="0"/>
                </a:cubicBezTo>
                <a:cubicBezTo>
                  <a:pt x="1" y="0"/>
                  <a:pt x="2" y="0"/>
                  <a:pt x="3"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3" name="Freeform 59"/>
          <p:cNvSpPr/>
          <p:nvPr/>
        </p:nvSpPr>
        <p:spPr bwMode="auto">
          <a:xfrm>
            <a:off x="2769857" y="3205162"/>
            <a:ext cx="28575" cy="19050"/>
          </a:xfrm>
          <a:custGeom>
            <a:avLst/>
            <a:gdLst>
              <a:gd name="T0" fmla="*/ 2 w 3"/>
              <a:gd name="T1" fmla="*/ 2 h 2"/>
              <a:gd name="T2" fmla="*/ 0 w 3"/>
              <a:gd name="T3" fmla="*/ 2 h 2"/>
              <a:gd name="T4" fmla="*/ 2 w 3"/>
              <a:gd name="T5" fmla="*/ 2 h 2"/>
            </a:gdLst>
            <a:ahLst/>
            <a:cxnLst>
              <a:cxn ang="0">
                <a:pos x="T0" y="T1"/>
              </a:cxn>
              <a:cxn ang="0">
                <a:pos x="T2" y="T3"/>
              </a:cxn>
              <a:cxn ang="0">
                <a:pos x="T4" y="T5"/>
              </a:cxn>
            </a:cxnLst>
            <a:rect l="0" t="0" r="r" b="b"/>
            <a:pathLst>
              <a:path w="3" h="2">
                <a:moveTo>
                  <a:pt x="2" y="2"/>
                </a:moveTo>
                <a:cubicBezTo>
                  <a:pt x="1" y="2"/>
                  <a:pt x="1" y="2"/>
                  <a:pt x="0" y="2"/>
                </a:cubicBezTo>
                <a:cubicBezTo>
                  <a:pt x="0" y="1"/>
                  <a:pt x="3" y="0"/>
                  <a:pt x="2"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4" name="Freeform 60"/>
          <p:cNvSpPr/>
          <p:nvPr/>
        </p:nvSpPr>
        <p:spPr bwMode="auto">
          <a:xfrm>
            <a:off x="2690482" y="3205162"/>
            <a:ext cx="28575" cy="30162"/>
          </a:xfrm>
          <a:custGeom>
            <a:avLst/>
            <a:gdLst>
              <a:gd name="T0" fmla="*/ 0 w 3"/>
              <a:gd name="T1" fmla="*/ 1 h 3"/>
              <a:gd name="T2" fmla="*/ 3 w 3"/>
              <a:gd name="T3" fmla="*/ 2 h 3"/>
              <a:gd name="T4" fmla="*/ 0 w 3"/>
              <a:gd name="T5" fmla="*/ 1 h 3"/>
            </a:gdLst>
            <a:ahLst/>
            <a:cxnLst>
              <a:cxn ang="0">
                <a:pos x="T0" y="T1"/>
              </a:cxn>
              <a:cxn ang="0">
                <a:pos x="T2" y="T3"/>
              </a:cxn>
              <a:cxn ang="0">
                <a:pos x="T4" y="T5"/>
              </a:cxn>
            </a:cxnLst>
            <a:rect l="0" t="0" r="r" b="b"/>
            <a:pathLst>
              <a:path w="3" h="3">
                <a:moveTo>
                  <a:pt x="0" y="1"/>
                </a:moveTo>
                <a:cubicBezTo>
                  <a:pt x="1" y="2"/>
                  <a:pt x="3" y="0"/>
                  <a:pt x="3" y="2"/>
                </a:cubicBezTo>
                <a:cubicBezTo>
                  <a:pt x="2" y="2"/>
                  <a:pt x="0" y="3"/>
                  <a:pt x="0"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5" name="Freeform 61"/>
          <p:cNvSpPr/>
          <p:nvPr/>
        </p:nvSpPr>
        <p:spPr bwMode="auto">
          <a:xfrm>
            <a:off x="6416344" y="3224212"/>
            <a:ext cx="49213" cy="90487"/>
          </a:xfrm>
          <a:custGeom>
            <a:avLst/>
            <a:gdLst>
              <a:gd name="T0" fmla="*/ 2 w 5"/>
              <a:gd name="T1" fmla="*/ 0 h 9"/>
              <a:gd name="T2" fmla="*/ 4 w 5"/>
              <a:gd name="T3" fmla="*/ 0 h 9"/>
              <a:gd name="T4" fmla="*/ 5 w 5"/>
              <a:gd name="T5" fmla="*/ 3 h 9"/>
              <a:gd name="T6" fmla="*/ 3 w 5"/>
              <a:gd name="T7" fmla="*/ 4 h 9"/>
              <a:gd name="T8" fmla="*/ 3 w 5"/>
              <a:gd name="T9" fmla="*/ 6 h 9"/>
              <a:gd name="T10" fmla="*/ 2 w 5"/>
              <a:gd name="T11" fmla="*/ 8 h 9"/>
              <a:gd name="T12" fmla="*/ 1 w 5"/>
              <a:gd name="T13" fmla="*/ 7 h 9"/>
              <a:gd name="T14" fmla="*/ 0 w 5"/>
              <a:gd name="T15" fmla="*/ 5 h 9"/>
              <a:gd name="T16" fmla="*/ 1 w 5"/>
              <a:gd name="T17" fmla="*/ 2 h 9"/>
              <a:gd name="T18" fmla="*/ 2 w 5"/>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9">
                <a:moveTo>
                  <a:pt x="2" y="0"/>
                </a:moveTo>
                <a:cubicBezTo>
                  <a:pt x="3" y="0"/>
                  <a:pt x="3" y="0"/>
                  <a:pt x="4" y="0"/>
                </a:cubicBezTo>
                <a:cubicBezTo>
                  <a:pt x="4" y="1"/>
                  <a:pt x="4" y="2"/>
                  <a:pt x="5" y="3"/>
                </a:cubicBezTo>
                <a:cubicBezTo>
                  <a:pt x="4" y="3"/>
                  <a:pt x="5" y="4"/>
                  <a:pt x="3" y="4"/>
                </a:cubicBezTo>
                <a:cubicBezTo>
                  <a:pt x="3" y="5"/>
                  <a:pt x="4" y="6"/>
                  <a:pt x="3" y="6"/>
                </a:cubicBezTo>
                <a:cubicBezTo>
                  <a:pt x="3" y="6"/>
                  <a:pt x="4" y="8"/>
                  <a:pt x="2" y="8"/>
                </a:cubicBezTo>
                <a:cubicBezTo>
                  <a:pt x="1" y="9"/>
                  <a:pt x="2" y="7"/>
                  <a:pt x="1" y="7"/>
                </a:cubicBezTo>
                <a:cubicBezTo>
                  <a:pt x="0" y="7"/>
                  <a:pt x="0" y="5"/>
                  <a:pt x="0" y="5"/>
                </a:cubicBezTo>
                <a:cubicBezTo>
                  <a:pt x="0" y="3"/>
                  <a:pt x="1" y="4"/>
                  <a:pt x="1" y="2"/>
                </a:cubicBezTo>
                <a:cubicBezTo>
                  <a:pt x="2" y="3"/>
                  <a:pt x="2" y="1"/>
                  <a:pt x="2"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6" name="Freeform 62"/>
          <p:cNvSpPr/>
          <p:nvPr/>
        </p:nvSpPr>
        <p:spPr bwMode="auto">
          <a:xfrm>
            <a:off x="6465557" y="3294062"/>
            <a:ext cx="69850" cy="79375"/>
          </a:xfrm>
          <a:custGeom>
            <a:avLst/>
            <a:gdLst>
              <a:gd name="T0" fmla="*/ 4 w 7"/>
              <a:gd name="T1" fmla="*/ 1 h 8"/>
              <a:gd name="T2" fmla="*/ 5 w 7"/>
              <a:gd name="T3" fmla="*/ 2 h 8"/>
              <a:gd name="T4" fmla="*/ 4 w 7"/>
              <a:gd name="T5" fmla="*/ 3 h 8"/>
              <a:gd name="T6" fmla="*/ 5 w 7"/>
              <a:gd name="T7" fmla="*/ 4 h 8"/>
              <a:gd name="T8" fmla="*/ 7 w 7"/>
              <a:gd name="T9" fmla="*/ 6 h 8"/>
              <a:gd name="T10" fmla="*/ 6 w 7"/>
              <a:gd name="T11" fmla="*/ 8 h 8"/>
              <a:gd name="T12" fmla="*/ 4 w 7"/>
              <a:gd name="T13" fmla="*/ 8 h 8"/>
              <a:gd name="T14" fmla="*/ 2 w 7"/>
              <a:gd name="T15" fmla="*/ 5 h 8"/>
              <a:gd name="T16" fmla="*/ 3 w 7"/>
              <a:gd name="T17" fmla="*/ 4 h 8"/>
              <a:gd name="T18" fmla="*/ 0 w 7"/>
              <a:gd name="T19" fmla="*/ 2 h 8"/>
              <a:gd name="T20" fmla="*/ 4 w 7"/>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4" y="1"/>
                </a:moveTo>
                <a:cubicBezTo>
                  <a:pt x="2" y="3"/>
                  <a:pt x="5" y="2"/>
                  <a:pt x="5" y="2"/>
                </a:cubicBezTo>
                <a:cubicBezTo>
                  <a:pt x="5" y="3"/>
                  <a:pt x="5" y="3"/>
                  <a:pt x="4" y="3"/>
                </a:cubicBezTo>
                <a:cubicBezTo>
                  <a:pt x="4" y="3"/>
                  <a:pt x="5" y="4"/>
                  <a:pt x="5" y="4"/>
                </a:cubicBezTo>
                <a:cubicBezTo>
                  <a:pt x="5" y="5"/>
                  <a:pt x="7" y="5"/>
                  <a:pt x="7" y="6"/>
                </a:cubicBezTo>
                <a:cubicBezTo>
                  <a:pt x="6" y="6"/>
                  <a:pt x="6" y="7"/>
                  <a:pt x="6" y="8"/>
                </a:cubicBezTo>
                <a:cubicBezTo>
                  <a:pt x="6" y="7"/>
                  <a:pt x="5" y="7"/>
                  <a:pt x="4" y="8"/>
                </a:cubicBezTo>
                <a:cubicBezTo>
                  <a:pt x="3" y="7"/>
                  <a:pt x="4" y="5"/>
                  <a:pt x="2" y="5"/>
                </a:cubicBezTo>
                <a:cubicBezTo>
                  <a:pt x="2" y="5"/>
                  <a:pt x="3" y="5"/>
                  <a:pt x="3" y="4"/>
                </a:cubicBezTo>
                <a:cubicBezTo>
                  <a:pt x="2" y="3"/>
                  <a:pt x="1" y="2"/>
                  <a:pt x="0" y="2"/>
                </a:cubicBezTo>
                <a:cubicBezTo>
                  <a:pt x="1" y="0"/>
                  <a:pt x="2" y="1"/>
                  <a:pt x="4"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7" name="Freeform 63"/>
          <p:cNvSpPr/>
          <p:nvPr/>
        </p:nvSpPr>
        <p:spPr bwMode="auto">
          <a:xfrm>
            <a:off x="6435394" y="3324225"/>
            <a:ext cx="9525" cy="9525"/>
          </a:xfrm>
          <a:custGeom>
            <a:avLst/>
            <a:gdLst>
              <a:gd name="T0" fmla="*/ 0 w 1"/>
              <a:gd name="T1" fmla="*/ 0 h 1"/>
              <a:gd name="T2" fmla="*/ 1 w 1"/>
              <a:gd name="T3" fmla="*/ 0 h 1"/>
              <a:gd name="T4" fmla="*/ 1 w 1"/>
              <a:gd name="T5" fmla="*/ 1 h 1"/>
              <a:gd name="T6" fmla="*/ 0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1" y="0"/>
                  <a:pt x="1" y="0"/>
                </a:cubicBezTo>
                <a:cubicBezTo>
                  <a:pt x="1" y="1"/>
                  <a:pt x="1" y="1"/>
                  <a:pt x="1" y="1"/>
                </a:cubicBezTo>
                <a:cubicBezTo>
                  <a:pt x="1" y="1"/>
                  <a:pt x="0" y="1"/>
                  <a:pt x="0" y="1"/>
                </a:cubicBezTo>
                <a:cubicBezTo>
                  <a:pt x="0" y="1"/>
                  <a:pt x="0" y="1"/>
                  <a:pt x="0"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8" name="Freeform 64"/>
          <p:cNvSpPr/>
          <p:nvPr/>
        </p:nvSpPr>
        <p:spPr bwMode="auto">
          <a:xfrm>
            <a:off x="6456032" y="3343275"/>
            <a:ext cx="39688" cy="50800"/>
          </a:xfrm>
          <a:custGeom>
            <a:avLst/>
            <a:gdLst>
              <a:gd name="T0" fmla="*/ 4 w 4"/>
              <a:gd name="T1" fmla="*/ 4 h 5"/>
              <a:gd name="T2" fmla="*/ 2 w 4"/>
              <a:gd name="T3" fmla="*/ 5 h 5"/>
              <a:gd name="T4" fmla="*/ 0 w 4"/>
              <a:gd name="T5" fmla="*/ 3 h 5"/>
              <a:gd name="T6" fmla="*/ 4 w 4"/>
              <a:gd name="T7" fmla="*/ 4 h 5"/>
            </a:gdLst>
            <a:ahLst/>
            <a:cxnLst>
              <a:cxn ang="0">
                <a:pos x="T0" y="T1"/>
              </a:cxn>
              <a:cxn ang="0">
                <a:pos x="T2" y="T3"/>
              </a:cxn>
              <a:cxn ang="0">
                <a:pos x="T4" y="T5"/>
              </a:cxn>
              <a:cxn ang="0">
                <a:pos x="T6" y="T7"/>
              </a:cxn>
            </a:cxnLst>
            <a:rect l="0" t="0" r="r" b="b"/>
            <a:pathLst>
              <a:path w="4" h="5">
                <a:moveTo>
                  <a:pt x="4" y="4"/>
                </a:moveTo>
                <a:cubicBezTo>
                  <a:pt x="4" y="5"/>
                  <a:pt x="2" y="5"/>
                  <a:pt x="2" y="5"/>
                </a:cubicBezTo>
                <a:cubicBezTo>
                  <a:pt x="2" y="4"/>
                  <a:pt x="2" y="2"/>
                  <a:pt x="0" y="3"/>
                </a:cubicBezTo>
                <a:cubicBezTo>
                  <a:pt x="2" y="0"/>
                  <a:pt x="2" y="5"/>
                  <a:pt x="4" y="4"/>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09" name="Freeform 65"/>
          <p:cNvSpPr/>
          <p:nvPr/>
        </p:nvSpPr>
        <p:spPr bwMode="auto">
          <a:xfrm>
            <a:off x="5665457" y="3382962"/>
            <a:ext cx="39688" cy="69850"/>
          </a:xfrm>
          <a:custGeom>
            <a:avLst/>
            <a:gdLst>
              <a:gd name="T0" fmla="*/ 1 w 4"/>
              <a:gd name="T1" fmla="*/ 1 h 7"/>
              <a:gd name="T2" fmla="*/ 2 w 4"/>
              <a:gd name="T3" fmla="*/ 2 h 7"/>
              <a:gd name="T4" fmla="*/ 2 w 4"/>
              <a:gd name="T5" fmla="*/ 3 h 7"/>
              <a:gd name="T6" fmla="*/ 3 w 4"/>
              <a:gd name="T7" fmla="*/ 4 h 7"/>
              <a:gd name="T8" fmla="*/ 3 w 4"/>
              <a:gd name="T9" fmla="*/ 4 h 7"/>
              <a:gd name="T10" fmla="*/ 3 w 4"/>
              <a:gd name="T11" fmla="*/ 7 h 7"/>
              <a:gd name="T12" fmla="*/ 2 w 4"/>
              <a:gd name="T13" fmla="*/ 7 h 7"/>
              <a:gd name="T14" fmla="*/ 1 w 4"/>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1" y="1"/>
                </a:moveTo>
                <a:cubicBezTo>
                  <a:pt x="1" y="0"/>
                  <a:pt x="2" y="2"/>
                  <a:pt x="2" y="2"/>
                </a:cubicBezTo>
                <a:cubicBezTo>
                  <a:pt x="2" y="3"/>
                  <a:pt x="2" y="2"/>
                  <a:pt x="2" y="3"/>
                </a:cubicBezTo>
                <a:cubicBezTo>
                  <a:pt x="2" y="3"/>
                  <a:pt x="3" y="3"/>
                  <a:pt x="3" y="4"/>
                </a:cubicBezTo>
                <a:cubicBezTo>
                  <a:pt x="4" y="4"/>
                  <a:pt x="3" y="4"/>
                  <a:pt x="3" y="4"/>
                </a:cubicBezTo>
                <a:cubicBezTo>
                  <a:pt x="3" y="5"/>
                  <a:pt x="4" y="5"/>
                  <a:pt x="3" y="7"/>
                </a:cubicBezTo>
                <a:cubicBezTo>
                  <a:pt x="3" y="6"/>
                  <a:pt x="2" y="7"/>
                  <a:pt x="2" y="7"/>
                </a:cubicBezTo>
                <a:cubicBezTo>
                  <a:pt x="0" y="7"/>
                  <a:pt x="0" y="4"/>
                  <a:pt x="1"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0" name="Freeform 66"/>
          <p:cNvSpPr/>
          <p:nvPr/>
        </p:nvSpPr>
        <p:spPr bwMode="auto">
          <a:xfrm>
            <a:off x="6495719" y="3394075"/>
            <a:ext cx="49213" cy="69850"/>
          </a:xfrm>
          <a:custGeom>
            <a:avLst/>
            <a:gdLst>
              <a:gd name="T0" fmla="*/ 4 w 5"/>
              <a:gd name="T1" fmla="*/ 0 h 7"/>
              <a:gd name="T2" fmla="*/ 5 w 5"/>
              <a:gd name="T3" fmla="*/ 4 h 7"/>
              <a:gd name="T4" fmla="*/ 3 w 5"/>
              <a:gd name="T5" fmla="*/ 4 h 7"/>
              <a:gd name="T6" fmla="*/ 3 w 5"/>
              <a:gd name="T7" fmla="*/ 7 h 7"/>
              <a:gd name="T8" fmla="*/ 1 w 5"/>
              <a:gd name="T9" fmla="*/ 6 h 7"/>
              <a:gd name="T10" fmla="*/ 1 w 5"/>
              <a:gd name="T11" fmla="*/ 4 h 7"/>
              <a:gd name="T12" fmla="*/ 1 w 5"/>
              <a:gd name="T13" fmla="*/ 3 h 7"/>
              <a:gd name="T14" fmla="*/ 1 w 5"/>
              <a:gd name="T15" fmla="*/ 3 h 7"/>
              <a:gd name="T16" fmla="*/ 2 w 5"/>
              <a:gd name="T17" fmla="*/ 2 h 7"/>
              <a:gd name="T18" fmla="*/ 3 w 5"/>
              <a:gd name="T19" fmla="*/ 0 h 7"/>
              <a:gd name="T20" fmla="*/ 4 w 5"/>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7">
                <a:moveTo>
                  <a:pt x="4" y="0"/>
                </a:moveTo>
                <a:cubicBezTo>
                  <a:pt x="4" y="2"/>
                  <a:pt x="4" y="3"/>
                  <a:pt x="5" y="4"/>
                </a:cubicBezTo>
                <a:cubicBezTo>
                  <a:pt x="5" y="4"/>
                  <a:pt x="4" y="4"/>
                  <a:pt x="3" y="4"/>
                </a:cubicBezTo>
                <a:cubicBezTo>
                  <a:pt x="4" y="5"/>
                  <a:pt x="3" y="6"/>
                  <a:pt x="3" y="7"/>
                </a:cubicBezTo>
                <a:cubicBezTo>
                  <a:pt x="2" y="7"/>
                  <a:pt x="2" y="6"/>
                  <a:pt x="1" y="6"/>
                </a:cubicBezTo>
                <a:cubicBezTo>
                  <a:pt x="1" y="5"/>
                  <a:pt x="1" y="5"/>
                  <a:pt x="1" y="4"/>
                </a:cubicBezTo>
                <a:cubicBezTo>
                  <a:pt x="2" y="4"/>
                  <a:pt x="1" y="3"/>
                  <a:pt x="1" y="3"/>
                </a:cubicBezTo>
                <a:cubicBezTo>
                  <a:pt x="1" y="3"/>
                  <a:pt x="1" y="3"/>
                  <a:pt x="1" y="3"/>
                </a:cubicBezTo>
                <a:cubicBezTo>
                  <a:pt x="0" y="3"/>
                  <a:pt x="1" y="1"/>
                  <a:pt x="2" y="2"/>
                </a:cubicBezTo>
                <a:cubicBezTo>
                  <a:pt x="2" y="1"/>
                  <a:pt x="3" y="1"/>
                  <a:pt x="3" y="0"/>
                </a:cubicBezTo>
                <a:cubicBezTo>
                  <a:pt x="3" y="0"/>
                  <a:pt x="3" y="0"/>
                  <a:pt x="4"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1" name="Freeform 67"/>
          <p:cNvSpPr/>
          <p:nvPr/>
        </p:nvSpPr>
        <p:spPr bwMode="auto">
          <a:xfrm>
            <a:off x="6456032" y="3403600"/>
            <a:ext cx="39688" cy="39687"/>
          </a:xfrm>
          <a:custGeom>
            <a:avLst/>
            <a:gdLst>
              <a:gd name="T0" fmla="*/ 2 w 4"/>
              <a:gd name="T1" fmla="*/ 0 h 4"/>
              <a:gd name="T2" fmla="*/ 4 w 4"/>
              <a:gd name="T3" fmla="*/ 2 h 4"/>
              <a:gd name="T4" fmla="*/ 3 w 4"/>
              <a:gd name="T5" fmla="*/ 2 h 4"/>
              <a:gd name="T6" fmla="*/ 0 w 4"/>
              <a:gd name="T7" fmla="*/ 4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3" y="0"/>
                  <a:pt x="4" y="1"/>
                  <a:pt x="4" y="2"/>
                </a:cubicBezTo>
                <a:cubicBezTo>
                  <a:pt x="3" y="2"/>
                  <a:pt x="3" y="2"/>
                  <a:pt x="3" y="2"/>
                </a:cubicBezTo>
                <a:cubicBezTo>
                  <a:pt x="3" y="3"/>
                  <a:pt x="1" y="3"/>
                  <a:pt x="0" y="4"/>
                </a:cubicBezTo>
                <a:cubicBezTo>
                  <a:pt x="0" y="2"/>
                  <a:pt x="2" y="2"/>
                  <a:pt x="2"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2" name="Freeform 68"/>
          <p:cNvSpPr/>
          <p:nvPr/>
        </p:nvSpPr>
        <p:spPr bwMode="auto">
          <a:xfrm>
            <a:off x="6563982" y="3522662"/>
            <a:ext cx="20638" cy="49212"/>
          </a:xfrm>
          <a:custGeom>
            <a:avLst/>
            <a:gdLst>
              <a:gd name="T0" fmla="*/ 0 w 2"/>
              <a:gd name="T1" fmla="*/ 0 h 5"/>
              <a:gd name="T2" fmla="*/ 2 w 2"/>
              <a:gd name="T3" fmla="*/ 2 h 5"/>
              <a:gd name="T4" fmla="*/ 0 w 2"/>
              <a:gd name="T5" fmla="*/ 5 h 5"/>
              <a:gd name="T6" fmla="*/ 1 w 2"/>
              <a:gd name="T7" fmla="*/ 4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cubicBezTo>
                  <a:pt x="1" y="0"/>
                  <a:pt x="0" y="2"/>
                  <a:pt x="2" y="2"/>
                </a:cubicBezTo>
                <a:cubicBezTo>
                  <a:pt x="2" y="3"/>
                  <a:pt x="2" y="5"/>
                  <a:pt x="0" y="5"/>
                </a:cubicBezTo>
                <a:cubicBezTo>
                  <a:pt x="0" y="4"/>
                  <a:pt x="0" y="4"/>
                  <a:pt x="1" y="4"/>
                </a:cubicBezTo>
                <a:cubicBezTo>
                  <a:pt x="0" y="2"/>
                  <a:pt x="0" y="3"/>
                  <a:pt x="0"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3" name="Freeform 69"/>
          <p:cNvSpPr/>
          <p:nvPr/>
        </p:nvSpPr>
        <p:spPr bwMode="auto">
          <a:xfrm>
            <a:off x="6416344" y="3543300"/>
            <a:ext cx="98425" cy="28575"/>
          </a:xfrm>
          <a:custGeom>
            <a:avLst/>
            <a:gdLst>
              <a:gd name="T0" fmla="*/ 9 w 10"/>
              <a:gd name="T1" fmla="*/ 1 h 3"/>
              <a:gd name="T2" fmla="*/ 7 w 10"/>
              <a:gd name="T3" fmla="*/ 2 h 3"/>
              <a:gd name="T4" fmla="*/ 0 w 10"/>
              <a:gd name="T5" fmla="*/ 3 h 3"/>
              <a:gd name="T6" fmla="*/ 8 w 10"/>
              <a:gd name="T7" fmla="*/ 0 h 3"/>
              <a:gd name="T8" fmla="*/ 9 w 10"/>
              <a:gd name="T9" fmla="*/ 1 h 3"/>
            </a:gdLst>
            <a:ahLst/>
            <a:cxnLst>
              <a:cxn ang="0">
                <a:pos x="T0" y="T1"/>
              </a:cxn>
              <a:cxn ang="0">
                <a:pos x="T2" y="T3"/>
              </a:cxn>
              <a:cxn ang="0">
                <a:pos x="T4" y="T5"/>
              </a:cxn>
              <a:cxn ang="0">
                <a:pos x="T6" y="T7"/>
              </a:cxn>
              <a:cxn ang="0">
                <a:pos x="T8" y="T9"/>
              </a:cxn>
            </a:cxnLst>
            <a:rect l="0" t="0" r="r" b="b"/>
            <a:pathLst>
              <a:path w="10" h="3">
                <a:moveTo>
                  <a:pt x="9" y="1"/>
                </a:moveTo>
                <a:cubicBezTo>
                  <a:pt x="10" y="2"/>
                  <a:pt x="8" y="2"/>
                  <a:pt x="7" y="2"/>
                </a:cubicBezTo>
                <a:cubicBezTo>
                  <a:pt x="5" y="2"/>
                  <a:pt x="2" y="2"/>
                  <a:pt x="0" y="3"/>
                </a:cubicBezTo>
                <a:cubicBezTo>
                  <a:pt x="1" y="0"/>
                  <a:pt x="7" y="3"/>
                  <a:pt x="8" y="0"/>
                </a:cubicBezTo>
                <a:cubicBezTo>
                  <a:pt x="8" y="1"/>
                  <a:pt x="9" y="1"/>
                  <a:pt x="9"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4" name="Freeform 70"/>
          <p:cNvSpPr/>
          <p:nvPr/>
        </p:nvSpPr>
        <p:spPr bwMode="auto">
          <a:xfrm>
            <a:off x="6624307" y="3571875"/>
            <a:ext cx="58738" cy="39687"/>
          </a:xfrm>
          <a:custGeom>
            <a:avLst/>
            <a:gdLst>
              <a:gd name="T0" fmla="*/ 6 w 6"/>
              <a:gd name="T1" fmla="*/ 3 h 4"/>
              <a:gd name="T2" fmla="*/ 5 w 6"/>
              <a:gd name="T3" fmla="*/ 4 h 4"/>
              <a:gd name="T4" fmla="*/ 2 w 6"/>
              <a:gd name="T5" fmla="*/ 4 h 4"/>
              <a:gd name="T6" fmla="*/ 2 w 6"/>
              <a:gd name="T7" fmla="*/ 3 h 4"/>
              <a:gd name="T8" fmla="*/ 0 w 6"/>
              <a:gd name="T9" fmla="*/ 2 h 4"/>
              <a:gd name="T10" fmla="*/ 2 w 6"/>
              <a:gd name="T11" fmla="*/ 1 h 4"/>
              <a:gd name="T12" fmla="*/ 3 w 6"/>
              <a:gd name="T13" fmla="*/ 1 h 4"/>
              <a:gd name="T14" fmla="*/ 3 w 6"/>
              <a:gd name="T15" fmla="*/ 1 h 4"/>
              <a:gd name="T16" fmla="*/ 4 w 6"/>
              <a:gd name="T17" fmla="*/ 1 h 4"/>
              <a:gd name="T18" fmla="*/ 6 w 6"/>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6" y="3"/>
                </a:moveTo>
                <a:cubicBezTo>
                  <a:pt x="5" y="3"/>
                  <a:pt x="5" y="3"/>
                  <a:pt x="5" y="4"/>
                </a:cubicBezTo>
                <a:cubicBezTo>
                  <a:pt x="4" y="3"/>
                  <a:pt x="3" y="4"/>
                  <a:pt x="2" y="4"/>
                </a:cubicBezTo>
                <a:cubicBezTo>
                  <a:pt x="2" y="4"/>
                  <a:pt x="2" y="3"/>
                  <a:pt x="2" y="3"/>
                </a:cubicBezTo>
                <a:cubicBezTo>
                  <a:pt x="1" y="3"/>
                  <a:pt x="1" y="2"/>
                  <a:pt x="0" y="2"/>
                </a:cubicBezTo>
                <a:cubicBezTo>
                  <a:pt x="0" y="1"/>
                  <a:pt x="1" y="2"/>
                  <a:pt x="2" y="1"/>
                </a:cubicBezTo>
                <a:cubicBezTo>
                  <a:pt x="2" y="1"/>
                  <a:pt x="3" y="0"/>
                  <a:pt x="3" y="1"/>
                </a:cubicBezTo>
                <a:cubicBezTo>
                  <a:pt x="3" y="1"/>
                  <a:pt x="3" y="1"/>
                  <a:pt x="3" y="1"/>
                </a:cubicBezTo>
                <a:cubicBezTo>
                  <a:pt x="4" y="1"/>
                  <a:pt x="4" y="1"/>
                  <a:pt x="4" y="1"/>
                </a:cubicBezTo>
                <a:cubicBezTo>
                  <a:pt x="5" y="1"/>
                  <a:pt x="6" y="2"/>
                  <a:pt x="6" y="3"/>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5" name="Freeform 71"/>
          <p:cNvSpPr/>
          <p:nvPr/>
        </p:nvSpPr>
        <p:spPr bwMode="auto">
          <a:xfrm>
            <a:off x="6652882" y="3592512"/>
            <a:ext cx="336550" cy="188912"/>
          </a:xfrm>
          <a:custGeom>
            <a:avLst/>
            <a:gdLst>
              <a:gd name="T0" fmla="*/ 11 w 34"/>
              <a:gd name="T1" fmla="*/ 9 h 19"/>
              <a:gd name="T2" fmla="*/ 9 w 34"/>
              <a:gd name="T3" fmla="*/ 8 h 19"/>
              <a:gd name="T4" fmla="*/ 8 w 34"/>
              <a:gd name="T5" fmla="*/ 7 h 19"/>
              <a:gd name="T6" fmla="*/ 3 w 34"/>
              <a:gd name="T7" fmla="*/ 5 h 19"/>
              <a:gd name="T8" fmla="*/ 0 w 34"/>
              <a:gd name="T9" fmla="*/ 5 h 19"/>
              <a:gd name="T10" fmla="*/ 0 w 34"/>
              <a:gd name="T11" fmla="*/ 3 h 19"/>
              <a:gd name="T12" fmla="*/ 1 w 34"/>
              <a:gd name="T13" fmla="*/ 3 h 19"/>
              <a:gd name="T14" fmla="*/ 3 w 34"/>
              <a:gd name="T15" fmla="*/ 3 h 19"/>
              <a:gd name="T16" fmla="*/ 5 w 34"/>
              <a:gd name="T17" fmla="*/ 4 h 19"/>
              <a:gd name="T18" fmla="*/ 7 w 34"/>
              <a:gd name="T19" fmla="*/ 2 h 19"/>
              <a:gd name="T20" fmla="*/ 11 w 34"/>
              <a:gd name="T21" fmla="*/ 1 h 19"/>
              <a:gd name="T22" fmla="*/ 12 w 34"/>
              <a:gd name="T23" fmla="*/ 2 h 19"/>
              <a:gd name="T24" fmla="*/ 15 w 34"/>
              <a:gd name="T25" fmla="*/ 3 h 19"/>
              <a:gd name="T26" fmla="*/ 16 w 34"/>
              <a:gd name="T27" fmla="*/ 3 h 19"/>
              <a:gd name="T28" fmla="*/ 17 w 34"/>
              <a:gd name="T29" fmla="*/ 4 h 19"/>
              <a:gd name="T30" fmla="*/ 20 w 34"/>
              <a:gd name="T31" fmla="*/ 4 h 19"/>
              <a:gd name="T32" fmla="*/ 21 w 34"/>
              <a:gd name="T33" fmla="*/ 5 h 19"/>
              <a:gd name="T34" fmla="*/ 21 w 34"/>
              <a:gd name="T35" fmla="*/ 6 h 19"/>
              <a:gd name="T36" fmla="*/ 22 w 34"/>
              <a:gd name="T37" fmla="*/ 6 h 19"/>
              <a:gd name="T38" fmla="*/ 23 w 34"/>
              <a:gd name="T39" fmla="*/ 7 h 19"/>
              <a:gd name="T40" fmla="*/ 25 w 34"/>
              <a:gd name="T41" fmla="*/ 8 h 19"/>
              <a:gd name="T42" fmla="*/ 29 w 34"/>
              <a:gd name="T43" fmla="*/ 10 h 19"/>
              <a:gd name="T44" fmla="*/ 28 w 34"/>
              <a:gd name="T45" fmla="*/ 11 h 19"/>
              <a:gd name="T46" fmla="*/ 30 w 34"/>
              <a:gd name="T47" fmla="*/ 12 h 19"/>
              <a:gd name="T48" fmla="*/ 30 w 34"/>
              <a:gd name="T49" fmla="*/ 13 h 19"/>
              <a:gd name="T50" fmla="*/ 32 w 34"/>
              <a:gd name="T51" fmla="*/ 15 h 19"/>
              <a:gd name="T52" fmla="*/ 34 w 34"/>
              <a:gd name="T53" fmla="*/ 17 h 19"/>
              <a:gd name="T54" fmla="*/ 31 w 34"/>
              <a:gd name="T55" fmla="*/ 17 h 19"/>
              <a:gd name="T56" fmla="*/ 28 w 34"/>
              <a:gd name="T57" fmla="*/ 15 h 19"/>
              <a:gd name="T58" fmla="*/ 27 w 34"/>
              <a:gd name="T59" fmla="*/ 14 h 19"/>
              <a:gd name="T60" fmla="*/ 27 w 34"/>
              <a:gd name="T61" fmla="*/ 14 h 19"/>
              <a:gd name="T62" fmla="*/ 25 w 34"/>
              <a:gd name="T63" fmla="*/ 13 h 19"/>
              <a:gd name="T64" fmla="*/ 21 w 34"/>
              <a:gd name="T65" fmla="*/ 12 h 19"/>
              <a:gd name="T66" fmla="*/ 20 w 34"/>
              <a:gd name="T67" fmla="*/ 16 h 19"/>
              <a:gd name="T68" fmla="*/ 17 w 34"/>
              <a:gd name="T69" fmla="*/ 15 h 19"/>
              <a:gd name="T70" fmla="*/ 15 w 34"/>
              <a:gd name="T71" fmla="*/ 15 h 19"/>
              <a:gd name="T72" fmla="*/ 13 w 34"/>
              <a:gd name="T73" fmla="*/ 13 h 19"/>
              <a:gd name="T74" fmla="*/ 12 w 34"/>
              <a:gd name="T75" fmla="*/ 14 h 19"/>
              <a:gd name="T76" fmla="*/ 10 w 34"/>
              <a:gd name="T77" fmla="*/ 14 h 19"/>
              <a:gd name="T78" fmla="*/ 12 w 34"/>
              <a:gd name="T79" fmla="*/ 12 h 19"/>
              <a:gd name="T80" fmla="*/ 13 w 34"/>
              <a:gd name="T81" fmla="*/ 10 h 19"/>
              <a:gd name="T82" fmla="*/ 12 w 34"/>
              <a:gd name="T83" fmla="*/ 11 h 19"/>
              <a:gd name="T84" fmla="*/ 11 w 34"/>
              <a:gd name="T85"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 h="19">
                <a:moveTo>
                  <a:pt x="11" y="9"/>
                </a:moveTo>
                <a:cubicBezTo>
                  <a:pt x="10" y="9"/>
                  <a:pt x="11" y="8"/>
                  <a:pt x="9" y="8"/>
                </a:cubicBezTo>
                <a:cubicBezTo>
                  <a:pt x="9" y="8"/>
                  <a:pt x="9" y="7"/>
                  <a:pt x="8" y="7"/>
                </a:cubicBezTo>
                <a:cubicBezTo>
                  <a:pt x="6" y="6"/>
                  <a:pt x="4" y="6"/>
                  <a:pt x="3" y="5"/>
                </a:cubicBezTo>
                <a:cubicBezTo>
                  <a:pt x="2" y="6"/>
                  <a:pt x="2" y="5"/>
                  <a:pt x="0" y="5"/>
                </a:cubicBezTo>
                <a:cubicBezTo>
                  <a:pt x="0" y="4"/>
                  <a:pt x="1" y="3"/>
                  <a:pt x="0" y="3"/>
                </a:cubicBezTo>
                <a:cubicBezTo>
                  <a:pt x="0" y="2"/>
                  <a:pt x="1" y="3"/>
                  <a:pt x="1" y="3"/>
                </a:cubicBezTo>
                <a:cubicBezTo>
                  <a:pt x="2" y="3"/>
                  <a:pt x="2" y="3"/>
                  <a:pt x="3" y="3"/>
                </a:cubicBezTo>
                <a:cubicBezTo>
                  <a:pt x="4" y="3"/>
                  <a:pt x="4" y="4"/>
                  <a:pt x="5" y="4"/>
                </a:cubicBezTo>
                <a:cubicBezTo>
                  <a:pt x="6" y="4"/>
                  <a:pt x="6" y="3"/>
                  <a:pt x="7" y="2"/>
                </a:cubicBezTo>
                <a:cubicBezTo>
                  <a:pt x="8" y="2"/>
                  <a:pt x="10" y="2"/>
                  <a:pt x="11" y="1"/>
                </a:cubicBezTo>
                <a:cubicBezTo>
                  <a:pt x="12" y="0"/>
                  <a:pt x="11" y="2"/>
                  <a:pt x="12" y="2"/>
                </a:cubicBezTo>
                <a:cubicBezTo>
                  <a:pt x="12" y="2"/>
                  <a:pt x="15" y="2"/>
                  <a:pt x="15" y="3"/>
                </a:cubicBezTo>
                <a:cubicBezTo>
                  <a:pt x="16" y="4"/>
                  <a:pt x="16" y="3"/>
                  <a:pt x="16" y="3"/>
                </a:cubicBezTo>
                <a:cubicBezTo>
                  <a:pt x="17" y="3"/>
                  <a:pt x="17" y="4"/>
                  <a:pt x="17" y="4"/>
                </a:cubicBezTo>
                <a:cubicBezTo>
                  <a:pt x="18" y="4"/>
                  <a:pt x="19" y="4"/>
                  <a:pt x="20" y="4"/>
                </a:cubicBezTo>
                <a:cubicBezTo>
                  <a:pt x="20" y="4"/>
                  <a:pt x="20" y="5"/>
                  <a:pt x="21" y="5"/>
                </a:cubicBezTo>
                <a:cubicBezTo>
                  <a:pt x="22" y="5"/>
                  <a:pt x="22" y="5"/>
                  <a:pt x="21" y="6"/>
                </a:cubicBezTo>
                <a:cubicBezTo>
                  <a:pt x="22" y="6"/>
                  <a:pt x="22" y="6"/>
                  <a:pt x="22" y="6"/>
                </a:cubicBezTo>
                <a:cubicBezTo>
                  <a:pt x="23" y="6"/>
                  <a:pt x="23" y="6"/>
                  <a:pt x="23" y="7"/>
                </a:cubicBezTo>
                <a:cubicBezTo>
                  <a:pt x="23" y="8"/>
                  <a:pt x="24" y="8"/>
                  <a:pt x="25" y="8"/>
                </a:cubicBezTo>
                <a:cubicBezTo>
                  <a:pt x="26" y="9"/>
                  <a:pt x="27" y="10"/>
                  <a:pt x="29" y="10"/>
                </a:cubicBezTo>
                <a:cubicBezTo>
                  <a:pt x="29" y="11"/>
                  <a:pt x="28" y="11"/>
                  <a:pt x="28" y="11"/>
                </a:cubicBezTo>
                <a:cubicBezTo>
                  <a:pt x="29" y="12"/>
                  <a:pt x="29" y="12"/>
                  <a:pt x="30" y="12"/>
                </a:cubicBezTo>
                <a:cubicBezTo>
                  <a:pt x="30" y="12"/>
                  <a:pt x="30" y="13"/>
                  <a:pt x="30" y="13"/>
                </a:cubicBezTo>
                <a:cubicBezTo>
                  <a:pt x="30" y="14"/>
                  <a:pt x="31" y="14"/>
                  <a:pt x="32" y="15"/>
                </a:cubicBezTo>
                <a:cubicBezTo>
                  <a:pt x="32" y="16"/>
                  <a:pt x="33" y="17"/>
                  <a:pt x="34" y="17"/>
                </a:cubicBezTo>
                <a:cubicBezTo>
                  <a:pt x="33" y="19"/>
                  <a:pt x="31" y="17"/>
                  <a:pt x="31" y="17"/>
                </a:cubicBezTo>
                <a:cubicBezTo>
                  <a:pt x="30" y="17"/>
                  <a:pt x="29" y="17"/>
                  <a:pt x="28" y="15"/>
                </a:cubicBezTo>
                <a:cubicBezTo>
                  <a:pt x="28" y="15"/>
                  <a:pt x="27" y="15"/>
                  <a:pt x="27" y="14"/>
                </a:cubicBezTo>
                <a:cubicBezTo>
                  <a:pt x="27" y="14"/>
                  <a:pt x="27" y="15"/>
                  <a:pt x="27" y="14"/>
                </a:cubicBezTo>
                <a:cubicBezTo>
                  <a:pt x="27" y="14"/>
                  <a:pt x="25" y="13"/>
                  <a:pt x="25" y="13"/>
                </a:cubicBezTo>
                <a:cubicBezTo>
                  <a:pt x="24" y="12"/>
                  <a:pt x="23" y="13"/>
                  <a:pt x="21" y="12"/>
                </a:cubicBezTo>
                <a:cubicBezTo>
                  <a:pt x="20" y="13"/>
                  <a:pt x="20" y="15"/>
                  <a:pt x="20" y="16"/>
                </a:cubicBezTo>
                <a:cubicBezTo>
                  <a:pt x="19" y="16"/>
                  <a:pt x="18" y="16"/>
                  <a:pt x="17" y="15"/>
                </a:cubicBezTo>
                <a:cubicBezTo>
                  <a:pt x="16" y="15"/>
                  <a:pt x="17" y="14"/>
                  <a:pt x="15" y="15"/>
                </a:cubicBezTo>
                <a:cubicBezTo>
                  <a:pt x="16" y="13"/>
                  <a:pt x="13" y="15"/>
                  <a:pt x="13" y="13"/>
                </a:cubicBezTo>
                <a:cubicBezTo>
                  <a:pt x="12" y="13"/>
                  <a:pt x="11" y="13"/>
                  <a:pt x="12" y="14"/>
                </a:cubicBezTo>
                <a:cubicBezTo>
                  <a:pt x="11" y="14"/>
                  <a:pt x="11" y="13"/>
                  <a:pt x="10" y="14"/>
                </a:cubicBezTo>
                <a:cubicBezTo>
                  <a:pt x="10" y="13"/>
                  <a:pt x="11" y="13"/>
                  <a:pt x="12" y="12"/>
                </a:cubicBezTo>
                <a:cubicBezTo>
                  <a:pt x="12" y="12"/>
                  <a:pt x="13" y="12"/>
                  <a:pt x="13" y="10"/>
                </a:cubicBezTo>
                <a:cubicBezTo>
                  <a:pt x="12" y="10"/>
                  <a:pt x="12" y="11"/>
                  <a:pt x="12" y="11"/>
                </a:cubicBezTo>
                <a:cubicBezTo>
                  <a:pt x="11" y="11"/>
                  <a:pt x="12" y="8"/>
                  <a:pt x="11" y="9"/>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6" name="Freeform 72"/>
          <p:cNvSpPr/>
          <p:nvPr/>
        </p:nvSpPr>
        <p:spPr bwMode="auto">
          <a:xfrm>
            <a:off x="6573507" y="3622675"/>
            <a:ext cx="30163" cy="28575"/>
          </a:xfrm>
          <a:custGeom>
            <a:avLst/>
            <a:gdLst>
              <a:gd name="T0" fmla="*/ 3 w 3"/>
              <a:gd name="T1" fmla="*/ 1 h 3"/>
              <a:gd name="T2" fmla="*/ 0 w 3"/>
              <a:gd name="T3" fmla="*/ 1 h 3"/>
              <a:gd name="T4" fmla="*/ 3 w 3"/>
              <a:gd name="T5" fmla="*/ 1 h 3"/>
            </a:gdLst>
            <a:ahLst/>
            <a:cxnLst>
              <a:cxn ang="0">
                <a:pos x="T0" y="T1"/>
              </a:cxn>
              <a:cxn ang="0">
                <a:pos x="T2" y="T3"/>
              </a:cxn>
              <a:cxn ang="0">
                <a:pos x="T4" y="T5"/>
              </a:cxn>
            </a:cxnLst>
            <a:rect l="0" t="0" r="r" b="b"/>
            <a:pathLst>
              <a:path w="3" h="3">
                <a:moveTo>
                  <a:pt x="3" y="1"/>
                </a:moveTo>
                <a:cubicBezTo>
                  <a:pt x="3" y="3"/>
                  <a:pt x="1" y="1"/>
                  <a:pt x="0" y="1"/>
                </a:cubicBezTo>
                <a:cubicBezTo>
                  <a:pt x="0" y="1"/>
                  <a:pt x="3" y="0"/>
                  <a:pt x="3"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7" name="Freeform 73"/>
          <p:cNvSpPr/>
          <p:nvPr/>
        </p:nvSpPr>
        <p:spPr bwMode="auto">
          <a:xfrm>
            <a:off x="6535407" y="3622675"/>
            <a:ext cx="19050" cy="19050"/>
          </a:xfrm>
          <a:custGeom>
            <a:avLst/>
            <a:gdLst>
              <a:gd name="T0" fmla="*/ 0 w 2"/>
              <a:gd name="T1" fmla="*/ 1 h 2"/>
              <a:gd name="T2" fmla="*/ 1 w 2"/>
              <a:gd name="T3" fmla="*/ 2 h 2"/>
              <a:gd name="T4" fmla="*/ 0 w 2"/>
              <a:gd name="T5" fmla="*/ 2 h 2"/>
              <a:gd name="T6" fmla="*/ 0 w 2"/>
              <a:gd name="T7" fmla="*/ 1 h 2"/>
            </a:gdLst>
            <a:ahLst/>
            <a:cxnLst>
              <a:cxn ang="0">
                <a:pos x="T0" y="T1"/>
              </a:cxn>
              <a:cxn ang="0">
                <a:pos x="T2" y="T3"/>
              </a:cxn>
              <a:cxn ang="0">
                <a:pos x="T4" y="T5"/>
              </a:cxn>
              <a:cxn ang="0">
                <a:pos x="T6" y="T7"/>
              </a:cxn>
            </a:cxnLst>
            <a:rect l="0" t="0" r="r" b="b"/>
            <a:pathLst>
              <a:path w="2" h="2">
                <a:moveTo>
                  <a:pt x="0" y="1"/>
                </a:moveTo>
                <a:cubicBezTo>
                  <a:pt x="0" y="0"/>
                  <a:pt x="2" y="1"/>
                  <a:pt x="1" y="2"/>
                </a:cubicBezTo>
                <a:cubicBezTo>
                  <a:pt x="1" y="2"/>
                  <a:pt x="1" y="2"/>
                  <a:pt x="0" y="2"/>
                </a:cubicBezTo>
                <a:cubicBezTo>
                  <a:pt x="0" y="1"/>
                  <a:pt x="0" y="1"/>
                  <a:pt x="0"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8" name="Freeform 74"/>
          <p:cNvSpPr/>
          <p:nvPr/>
        </p:nvSpPr>
        <p:spPr bwMode="auto">
          <a:xfrm>
            <a:off x="6959269" y="3651250"/>
            <a:ext cx="69850" cy="50800"/>
          </a:xfrm>
          <a:custGeom>
            <a:avLst/>
            <a:gdLst>
              <a:gd name="T0" fmla="*/ 5 w 7"/>
              <a:gd name="T1" fmla="*/ 0 h 5"/>
              <a:gd name="T2" fmla="*/ 7 w 7"/>
              <a:gd name="T3" fmla="*/ 0 h 5"/>
              <a:gd name="T4" fmla="*/ 7 w 7"/>
              <a:gd name="T5" fmla="*/ 1 h 5"/>
              <a:gd name="T6" fmla="*/ 6 w 7"/>
              <a:gd name="T7" fmla="*/ 2 h 5"/>
              <a:gd name="T8" fmla="*/ 6 w 7"/>
              <a:gd name="T9" fmla="*/ 3 h 5"/>
              <a:gd name="T10" fmla="*/ 5 w 7"/>
              <a:gd name="T11" fmla="*/ 4 h 5"/>
              <a:gd name="T12" fmla="*/ 1 w 7"/>
              <a:gd name="T13" fmla="*/ 2 h 5"/>
              <a:gd name="T14" fmla="*/ 5 w 7"/>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5" y="0"/>
                </a:moveTo>
                <a:cubicBezTo>
                  <a:pt x="6" y="0"/>
                  <a:pt x="6" y="0"/>
                  <a:pt x="7" y="0"/>
                </a:cubicBezTo>
                <a:cubicBezTo>
                  <a:pt x="7" y="0"/>
                  <a:pt x="7" y="1"/>
                  <a:pt x="7" y="1"/>
                </a:cubicBezTo>
                <a:cubicBezTo>
                  <a:pt x="7" y="2"/>
                  <a:pt x="6" y="2"/>
                  <a:pt x="6" y="2"/>
                </a:cubicBezTo>
                <a:cubicBezTo>
                  <a:pt x="6" y="2"/>
                  <a:pt x="7" y="3"/>
                  <a:pt x="6" y="3"/>
                </a:cubicBezTo>
                <a:cubicBezTo>
                  <a:pt x="5" y="3"/>
                  <a:pt x="5" y="3"/>
                  <a:pt x="5" y="4"/>
                </a:cubicBezTo>
                <a:cubicBezTo>
                  <a:pt x="3" y="3"/>
                  <a:pt x="0" y="5"/>
                  <a:pt x="1" y="2"/>
                </a:cubicBezTo>
                <a:cubicBezTo>
                  <a:pt x="3" y="3"/>
                  <a:pt x="5" y="2"/>
                  <a:pt x="5"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19" name="Freeform 75"/>
          <p:cNvSpPr/>
          <p:nvPr/>
        </p:nvSpPr>
        <p:spPr bwMode="auto">
          <a:xfrm>
            <a:off x="6367132" y="3721100"/>
            <a:ext cx="28575" cy="20637"/>
          </a:xfrm>
          <a:custGeom>
            <a:avLst/>
            <a:gdLst>
              <a:gd name="T0" fmla="*/ 3 w 3"/>
              <a:gd name="T1" fmla="*/ 1 h 2"/>
              <a:gd name="T2" fmla="*/ 0 w 3"/>
              <a:gd name="T3" fmla="*/ 2 h 2"/>
              <a:gd name="T4" fmla="*/ 3 w 3"/>
              <a:gd name="T5" fmla="*/ 1 h 2"/>
            </a:gdLst>
            <a:ahLst/>
            <a:cxnLst>
              <a:cxn ang="0">
                <a:pos x="T0" y="T1"/>
              </a:cxn>
              <a:cxn ang="0">
                <a:pos x="T2" y="T3"/>
              </a:cxn>
              <a:cxn ang="0">
                <a:pos x="T4" y="T5"/>
              </a:cxn>
            </a:cxnLst>
            <a:rect l="0" t="0" r="r" b="b"/>
            <a:pathLst>
              <a:path w="3" h="2">
                <a:moveTo>
                  <a:pt x="3" y="1"/>
                </a:moveTo>
                <a:cubicBezTo>
                  <a:pt x="2" y="1"/>
                  <a:pt x="2" y="2"/>
                  <a:pt x="0" y="2"/>
                </a:cubicBezTo>
                <a:cubicBezTo>
                  <a:pt x="0" y="0"/>
                  <a:pt x="2" y="1"/>
                  <a:pt x="3"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0" name="Freeform 76"/>
          <p:cNvSpPr/>
          <p:nvPr/>
        </p:nvSpPr>
        <p:spPr bwMode="auto">
          <a:xfrm>
            <a:off x="6416344" y="3721100"/>
            <a:ext cx="39688" cy="20637"/>
          </a:xfrm>
          <a:custGeom>
            <a:avLst/>
            <a:gdLst>
              <a:gd name="T0" fmla="*/ 4 w 4"/>
              <a:gd name="T1" fmla="*/ 1 h 2"/>
              <a:gd name="T2" fmla="*/ 0 w 4"/>
              <a:gd name="T3" fmla="*/ 1 h 2"/>
              <a:gd name="T4" fmla="*/ 4 w 4"/>
              <a:gd name="T5" fmla="*/ 1 h 2"/>
            </a:gdLst>
            <a:ahLst/>
            <a:cxnLst>
              <a:cxn ang="0">
                <a:pos x="T0" y="T1"/>
              </a:cxn>
              <a:cxn ang="0">
                <a:pos x="T2" y="T3"/>
              </a:cxn>
              <a:cxn ang="0">
                <a:pos x="T4" y="T5"/>
              </a:cxn>
            </a:cxnLst>
            <a:rect l="0" t="0" r="r" b="b"/>
            <a:pathLst>
              <a:path w="4" h="2">
                <a:moveTo>
                  <a:pt x="4" y="1"/>
                </a:moveTo>
                <a:cubicBezTo>
                  <a:pt x="3" y="2"/>
                  <a:pt x="2" y="2"/>
                  <a:pt x="0" y="1"/>
                </a:cubicBezTo>
                <a:cubicBezTo>
                  <a:pt x="1" y="0"/>
                  <a:pt x="2" y="1"/>
                  <a:pt x="4"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1" name="Freeform 77"/>
          <p:cNvSpPr/>
          <p:nvPr/>
        </p:nvSpPr>
        <p:spPr bwMode="auto">
          <a:xfrm>
            <a:off x="6484607" y="3721100"/>
            <a:ext cx="60325" cy="39687"/>
          </a:xfrm>
          <a:custGeom>
            <a:avLst/>
            <a:gdLst>
              <a:gd name="T0" fmla="*/ 6 w 6"/>
              <a:gd name="T1" fmla="*/ 1 h 4"/>
              <a:gd name="T2" fmla="*/ 6 w 6"/>
              <a:gd name="T3" fmla="*/ 2 h 4"/>
              <a:gd name="T4" fmla="*/ 5 w 6"/>
              <a:gd name="T5" fmla="*/ 2 h 4"/>
              <a:gd name="T6" fmla="*/ 1 w 6"/>
              <a:gd name="T7" fmla="*/ 4 h 4"/>
              <a:gd name="T8" fmla="*/ 2 w 6"/>
              <a:gd name="T9" fmla="*/ 3 h 4"/>
              <a:gd name="T10" fmla="*/ 3 w 6"/>
              <a:gd name="T11" fmla="*/ 2 h 4"/>
              <a:gd name="T12" fmla="*/ 4 w 6"/>
              <a:gd name="T13" fmla="*/ 1 h 4"/>
              <a:gd name="T14" fmla="*/ 6 w 6"/>
              <a:gd name="T15" fmla="*/ 1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6" y="1"/>
                </a:moveTo>
                <a:cubicBezTo>
                  <a:pt x="6" y="2"/>
                  <a:pt x="6" y="2"/>
                  <a:pt x="6" y="2"/>
                </a:cubicBezTo>
                <a:cubicBezTo>
                  <a:pt x="6" y="3"/>
                  <a:pt x="5" y="2"/>
                  <a:pt x="5" y="2"/>
                </a:cubicBezTo>
                <a:cubicBezTo>
                  <a:pt x="4" y="3"/>
                  <a:pt x="3" y="4"/>
                  <a:pt x="1" y="4"/>
                </a:cubicBezTo>
                <a:cubicBezTo>
                  <a:pt x="0" y="3"/>
                  <a:pt x="2" y="3"/>
                  <a:pt x="2" y="3"/>
                </a:cubicBezTo>
                <a:cubicBezTo>
                  <a:pt x="2" y="3"/>
                  <a:pt x="3" y="2"/>
                  <a:pt x="3" y="2"/>
                </a:cubicBezTo>
                <a:cubicBezTo>
                  <a:pt x="3" y="2"/>
                  <a:pt x="4" y="2"/>
                  <a:pt x="4" y="1"/>
                </a:cubicBezTo>
                <a:cubicBezTo>
                  <a:pt x="5" y="1"/>
                  <a:pt x="5" y="0"/>
                  <a:pt x="6"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2" name="Freeform 78"/>
          <p:cNvSpPr/>
          <p:nvPr/>
        </p:nvSpPr>
        <p:spPr bwMode="auto">
          <a:xfrm>
            <a:off x="7424407" y="4257675"/>
            <a:ext cx="28575" cy="49212"/>
          </a:xfrm>
          <a:custGeom>
            <a:avLst/>
            <a:gdLst>
              <a:gd name="T0" fmla="*/ 0 w 3"/>
              <a:gd name="T1" fmla="*/ 0 h 5"/>
              <a:gd name="T2" fmla="*/ 1 w 3"/>
              <a:gd name="T3" fmla="*/ 1 h 5"/>
              <a:gd name="T4" fmla="*/ 2 w 3"/>
              <a:gd name="T5" fmla="*/ 2 h 5"/>
              <a:gd name="T6" fmla="*/ 3 w 3"/>
              <a:gd name="T7" fmla="*/ 4 h 5"/>
              <a:gd name="T8" fmla="*/ 1 w 3"/>
              <a:gd name="T9" fmla="*/ 4 h 5"/>
              <a:gd name="T10" fmla="*/ 0 w 3"/>
              <a:gd name="T11" fmla="*/ 1 h 5"/>
              <a:gd name="T12" fmla="*/ 0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0"/>
                </a:moveTo>
                <a:cubicBezTo>
                  <a:pt x="1" y="0"/>
                  <a:pt x="1" y="0"/>
                  <a:pt x="1" y="1"/>
                </a:cubicBezTo>
                <a:cubicBezTo>
                  <a:pt x="0" y="1"/>
                  <a:pt x="3" y="1"/>
                  <a:pt x="2" y="2"/>
                </a:cubicBezTo>
                <a:cubicBezTo>
                  <a:pt x="1" y="3"/>
                  <a:pt x="3" y="2"/>
                  <a:pt x="3" y="4"/>
                </a:cubicBezTo>
                <a:cubicBezTo>
                  <a:pt x="2" y="5"/>
                  <a:pt x="1" y="4"/>
                  <a:pt x="1" y="4"/>
                </a:cubicBezTo>
                <a:cubicBezTo>
                  <a:pt x="1" y="4"/>
                  <a:pt x="0" y="2"/>
                  <a:pt x="0" y="1"/>
                </a:cubicBezTo>
                <a:cubicBezTo>
                  <a:pt x="0" y="1"/>
                  <a:pt x="0" y="0"/>
                  <a:pt x="0"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3" name="Freeform 79"/>
          <p:cNvSpPr/>
          <p:nvPr/>
        </p:nvSpPr>
        <p:spPr bwMode="auto">
          <a:xfrm>
            <a:off x="7433932" y="4297362"/>
            <a:ext cx="69850" cy="100012"/>
          </a:xfrm>
          <a:custGeom>
            <a:avLst/>
            <a:gdLst>
              <a:gd name="T0" fmla="*/ 2 w 7"/>
              <a:gd name="T1" fmla="*/ 0 h 10"/>
              <a:gd name="T2" fmla="*/ 3 w 7"/>
              <a:gd name="T3" fmla="*/ 0 h 10"/>
              <a:gd name="T4" fmla="*/ 4 w 7"/>
              <a:gd name="T5" fmla="*/ 0 h 10"/>
              <a:gd name="T6" fmla="*/ 7 w 7"/>
              <a:gd name="T7" fmla="*/ 2 h 10"/>
              <a:gd name="T8" fmla="*/ 7 w 7"/>
              <a:gd name="T9" fmla="*/ 5 h 10"/>
              <a:gd name="T10" fmla="*/ 6 w 7"/>
              <a:gd name="T11" fmla="*/ 5 h 10"/>
              <a:gd name="T12" fmla="*/ 5 w 7"/>
              <a:gd name="T13" fmla="*/ 6 h 10"/>
              <a:gd name="T14" fmla="*/ 5 w 7"/>
              <a:gd name="T15" fmla="*/ 8 h 10"/>
              <a:gd name="T16" fmla="*/ 4 w 7"/>
              <a:gd name="T17" fmla="*/ 9 h 10"/>
              <a:gd name="T18" fmla="*/ 2 w 7"/>
              <a:gd name="T19" fmla="*/ 10 h 10"/>
              <a:gd name="T20" fmla="*/ 2 w 7"/>
              <a:gd name="T21" fmla="*/ 8 h 10"/>
              <a:gd name="T22" fmla="*/ 3 w 7"/>
              <a:gd name="T23" fmla="*/ 7 h 10"/>
              <a:gd name="T24" fmla="*/ 0 w 7"/>
              <a:gd name="T25" fmla="*/ 6 h 10"/>
              <a:gd name="T26" fmla="*/ 2 w 7"/>
              <a:gd name="T27" fmla="*/ 4 h 10"/>
              <a:gd name="T28" fmla="*/ 2 w 7"/>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0">
                <a:moveTo>
                  <a:pt x="2" y="0"/>
                </a:moveTo>
                <a:cubicBezTo>
                  <a:pt x="3" y="0"/>
                  <a:pt x="3" y="0"/>
                  <a:pt x="3" y="0"/>
                </a:cubicBezTo>
                <a:cubicBezTo>
                  <a:pt x="3" y="1"/>
                  <a:pt x="4" y="1"/>
                  <a:pt x="4" y="0"/>
                </a:cubicBezTo>
                <a:cubicBezTo>
                  <a:pt x="5" y="1"/>
                  <a:pt x="5" y="3"/>
                  <a:pt x="7" y="2"/>
                </a:cubicBezTo>
                <a:cubicBezTo>
                  <a:pt x="7" y="3"/>
                  <a:pt x="7" y="4"/>
                  <a:pt x="7" y="5"/>
                </a:cubicBezTo>
                <a:cubicBezTo>
                  <a:pt x="7" y="5"/>
                  <a:pt x="6" y="5"/>
                  <a:pt x="6" y="5"/>
                </a:cubicBezTo>
                <a:cubicBezTo>
                  <a:pt x="6" y="5"/>
                  <a:pt x="6" y="5"/>
                  <a:pt x="5" y="6"/>
                </a:cubicBezTo>
                <a:cubicBezTo>
                  <a:pt x="6" y="7"/>
                  <a:pt x="5" y="7"/>
                  <a:pt x="5" y="8"/>
                </a:cubicBezTo>
                <a:cubicBezTo>
                  <a:pt x="5" y="9"/>
                  <a:pt x="3" y="9"/>
                  <a:pt x="4" y="9"/>
                </a:cubicBezTo>
                <a:cubicBezTo>
                  <a:pt x="5" y="10"/>
                  <a:pt x="3" y="9"/>
                  <a:pt x="2" y="10"/>
                </a:cubicBezTo>
                <a:cubicBezTo>
                  <a:pt x="2" y="9"/>
                  <a:pt x="2" y="9"/>
                  <a:pt x="2" y="8"/>
                </a:cubicBezTo>
                <a:cubicBezTo>
                  <a:pt x="2" y="8"/>
                  <a:pt x="2" y="7"/>
                  <a:pt x="3" y="7"/>
                </a:cubicBezTo>
                <a:cubicBezTo>
                  <a:pt x="2" y="7"/>
                  <a:pt x="2" y="6"/>
                  <a:pt x="0" y="6"/>
                </a:cubicBezTo>
                <a:cubicBezTo>
                  <a:pt x="0" y="5"/>
                  <a:pt x="1" y="5"/>
                  <a:pt x="2" y="4"/>
                </a:cubicBezTo>
                <a:cubicBezTo>
                  <a:pt x="2" y="2"/>
                  <a:pt x="2" y="2"/>
                  <a:pt x="2"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4" name="Freeform 80"/>
          <p:cNvSpPr/>
          <p:nvPr/>
        </p:nvSpPr>
        <p:spPr bwMode="auto">
          <a:xfrm>
            <a:off x="6891007" y="4376737"/>
            <a:ext cx="68263" cy="69850"/>
          </a:xfrm>
          <a:custGeom>
            <a:avLst/>
            <a:gdLst>
              <a:gd name="T0" fmla="*/ 6 w 7"/>
              <a:gd name="T1" fmla="*/ 1 h 7"/>
              <a:gd name="T2" fmla="*/ 6 w 7"/>
              <a:gd name="T3" fmla="*/ 4 h 7"/>
              <a:gd name="T4" fmla="*/ 6 w 7"/>
              <a:gd name="T5" fmla="*/ 3 h 7"/>
              <a:gd name="T6" fmla="*/ 5 w 7"/>
              <a:gd name="T7" fmla="*/ 3 h 7"/>
              <a:gd name="T8" fmla="*/ 5 w 7"/>
              <a:gd name="T9" fmla="*/ 5 h 7"/>
              <a:gd name="T10" fmla="*/ 4 w 7"/>
              <a:gd name="T11" fmla="*/ 5 h 7"/>
              <a:gd name="T12" fmla="*/ 4 w 7"/>
              <a:gd name="T13" fmla="*/ 6 h 7"/>
              <a:gd name="T14" fmla="*/ 3 w 7"/>
              <a:gd name="T15" fmla="*/ 7 h 7"/>
              <a:gd name="T16" fmla="*/ 2 w 7"/>
              <a:gd name="T17" fmla="*/ 6 h 7"/>
              <a:gd name="T18" fmla="*/ 1 w 7"/>
              <a:gd name="T19" fmla="*/ 5 h 7"/>
              <a:gd name="T20" fmla="*/ 0 w 7"/>
              <a:gd name="T21" fmla="*/ 2 h 7"/>
              <a:gd name="T22" fmla="*/ 4 w 7"/>
              <a:gd name="T23" fmla="*/ 1 h 7"/>
              <a:gd name="T24" fmla="*/ 6 w 7"/>
              <a:gd name="T2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6" y="1"/>
                </a:moveTo>
                <a:cubicBezTo>
                  <a:pt x="6" y="2"/>
                  <a:pt x="7" y="2"/>
                  <a:pt x="6" y="4"/>
                </a:cubicBezTo>
                <a:cubicBezTo>
                  <a:pt x="6" y="4"/>
                  <a:pt x="6" y="3"/>
                  <a:pt x="6" y="3"/>
                </a:cubicBezTo>
                <a:cubicBezTo>
                  <a:pt x="6" y="3"/>
                  <a:pt x="5" y="3"/>
                  <a:pt x="5" y="3"/>
                </a:cubicBezTo>
                <a:cubicBezTo>
                  <a:pt x="5" y="4"/>
                  <a:pt x="6" y="5"/>
                  <a:pt x="5" y="5"/>
                </a:cubicBezTo>
                <a:cubicBezTo>
                  <a:pt x="5" y="6"/>
                  <a:pt x="5" y="5"/>
                  <a:pt x="4" y="5"/>
                </a:cubicBezTo>
                <a:cubicBezTo>
                  <a:pt x="4" y="6"/>
                  <a:pt x="5" y="6"/>
                  <a:pt x="4" y="6"/>
                </a:cubicBezTo>
                <a:cubicBezTo>
                  <a:pt x="4" y="7"/>
                  <a:pt x="3" y="6"/>
                  <a:pt x="3" y="7"/>
                </a:cubicBezTo>
                <a:cubicBezTo>
                  <a:pt x="3" y="7"/>
                  <a:pt x="2" y="6"/>
                  <a:pt x="2" y="6"/>
                </a:cubicBezTo>
                <a:cubicBezTo>
                  <a:pt x="2" y="6"/>
                  <a:pt x="1" y="5"/>
                  <a:pt x="1" y="5"/>
                </a:cubicBezTo>
                <a:cubicBezTo>
                  <a:pt x="1" y="4"/>
                  <a:pt x="1" y="3"/>
                  <a:pt x="0" y="2"/>
                </a:cubicBezTo>
                <a:cubicBezTo>
                  <a:pt x="1" y="2"/>
                  <a:pt x="2" y="2"/>
                  <a:pt x="4" y="1"/>
                </a:cubicBezTo>
                <a:cubicBezTo>
                  <a:pt x="5" y="1"/>
                  <a:pt x="5" y="0"/>
                  <a:pt x="6"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5" name="Freeform 81"/>
          <p:cNvSpPr/>
          <p:nvPr/>
        </p:nvSpPr>
        <p:spPr bwMode="auto">
          <a:xfrm>
            <a:off x="2798432" y="1417638"/>
            <a:ext cx="1127125" cy="854075"/>
          </a:xfrm>
          <a:custGeom>
            <a:avLst/>
            <a:gdLst>
              <a:gd name="T0" fmla="*/ 81 w 114"/>
              <a:gd name="T1" fmla="*/ 10 h 86"/>
              <a:gd name="T2" fmla="*/ 86 w 114"/>
              <a:gd name="T3" fmla="*/ 10 h 86"/>
              <a:gd name="T4" fmla="*/ 92 w 114"/>
              <a:gd name="T5" fmla="*/ 9 h 86"/>
              <a:gd name="T6" fmla="*/ 96 w 114"/>
              <a:gd name="T7" fmla="*/ 9 h 86"/>
              <a:gd name="T8" fmla="*/ 95 w 114"/>
              <a:gd name="T9" fmla="*/ 11 h 86"/>
              <a:gd name="T10" fmla="*/ 108 w 114"/>
              <a:gd name="T11" fmla="*/ 9 h 86"/>
              <a:gd name="T12" fmla="*/ 114 w 114"/>
              <a:gd name="T13" fmla="*/ 10 h 86"/>
              <a:gd name="T14" fmla="*/ 106 w 114"/>
              <a:gd name="T15" fmla="*/ 14 h 86"/>
              <a:gd name="T16" fmla="*/ 103 w 114"/>
              <a:gd name="T17" fmla="*/ 17 h 86"/>
              <a:gd name="T18" fmla="*/ 99 w 114"/>
              <a:gd name="T19" fmla="*/ 22 h 86"/>
              <a:gd name="T20" fmla="*/ 100 w 114"/>
              <a:gd name="T21" fmla="*/ 26 h 86"/>
              <a:gd name="T22" fmla="*/ 97 w 114"/>
              <a:gd name="T23" fmla="*/ 30 h 86"/>
              <a:gd name="T24" fmla="*/ 101 w 114"/>
              <a:gd name="T25" fmla="*/ 36 h 86"/>
              <a:gd name="T26" fmla="*/ 98 w 114"/>
              <a:gd name="T27" fmla="*/ 40 h 86"/>
              <a:gd name="T28" fmla="*/ 95 w 114"/>
              <a:gd name="T29" fmla="*/ 44 h 86"/>
              <a:gd name="T30" fmla="*/ 99 w 114"/>
              <a:gd name="T31" fmla="*/ 52 h 86"/>
              <a:gd name="T32" fmla="*/ 92 w 114"/>
              <a:gd name="T33" fmla="*/ 51 h 86"/>
              <a:gd name="T34" fmla="*/ 91 w 114"/>
              <a:gd name="T35" fmla="*/ 54 h 86"/>
              <a:gd name="T36" fmla="*/ 88 w 114"/>
              <a:gd name="T37" fmla="*/ 59 h 86"/>
              <a:gd name="T38" fmla="*/ 81 w 114"/>
              <a:gd name="T39" fmla="*/ 61 h 86"/>
              <a:gd name="T40" fmla="*/ 77 w 114"/>
              <a:gd name="T41" fmla="*/ 63 h 86"/>
              <a:gd name="T42" fmla="*/ 74 w 114"/>
              <a:gd name="T43" fmla="*/ 66 h 86"/>
              <a:gd name="T44" fmla="*/ 64 w 114"/>
              <a:gd name="T45" fmla="*/ 69 h 86"/>
              <a:gd name="T46" fmla="*/ 61 w 114"/>
              <a:gd name="T47" fmla="*/ 73 h 86"/>
              <a:gd name="T48" fmla="*/ 59 w 114"/>
              <a:gd name="T49" fmla="*/ 77 h 86"/>
              <a:gd name="T50" fmla="*/ 58 w 114"/>
              <a:gd name="T51" fmla="*/ 80 h 86"/>
              <a:gd name="T52" fmla="*/ 52 w 114"/>
              <a:gd name="T53" fmla="*/ 84 h 86"/>
              <a:gd name="T54" fmla="*/ 45 w 114"/>
              <a:gd name="T55" fmla="*/ 81 h 86"/>
              <a:gd name="T56" fmla="*/ 41 w 114"/>
              <a:gd name="T57" fmla="*/ 76 h 86"/>
              <a:gd name="T58" fmla="*/ 39 w 114"/>
              <a:gd name="T59" fmla="*/ 73 h 86"/>
              <a:gd name="T60" fmla="*/ 37 w 114"/>
              <a:gd name="T61" fmla="*/ 66 h 86"/>
              <a:gd name="T62" fmla="*/ 38 w 114"/>
              <a:gd name="T63" fmla="*/ 64 h 86"/>
              <a:gd name="T64" fmla="*/ 41 w 114"/>
              <a:gd name="T65" fmla="*/ 60 h 86"/>
              <a:gd name="T66" fmla="*/ 39 w 114"/>
              <a:gd name="T67" fmla="*/ 55 h 86"/>
              <a:gd name="T68" fmla="*/ 40 w 114"/>
              <a:gd name="T69" fmla="*/ 51 h 86"/>
              <a:gd name="T70" fmla="*/ 36 w 114"/>
              <a:gd name="T71" fmla="*/ 50 h 86"/>
              <a:gd name="T72" fmla="*/ 32 w 114"/>
              <a:gd name="T73" fmla="*/ 44 h 86"/>
              <a:gd name="T74" fmla="*/ 29 w 114"/>
              <a:gd name="T75" fmla="*/ 37 h 86"/>
              <a:gd name="T76" fmla="*/ 21 w 114"/>
              <a:gd name="T77" fmla="*/ 33 h 86"/>
              <a:gd name="T78" fmla="*/ 9 w 114"/>
              <a:gd name="T79" fmla="*/ 34 h 86"/>
              <a:gd name="T80" fmla="*/ 9 w 114"/>
              <a:gd name="T81" fmla="*/ 31 h 86"/>
              <a:gd name="T82" fmla="*/ 4 w 114"/>
              <a:gd name="T83" fmla="*/ 27 h 86"/>
              <a:gd name="T84" fmla="*/ 7 w 114"/>
              <a:gd name="T85" fmla="*/ 23 h 86"/>
              <a:gd name="T86" fmla="*/ 12 w 114"/>
              <a:gd name="T87" fmla="*/ 20 h 86"/>
              <a:gd name="T88" fmla="*/ 13 w 114"/>
              <a:gd name="T89" fmla="*/ 17 h 86"/>
              <a:gd name="T90" fmla="*/ 12 w 114"/>
              <a:gd name="T91" fmla="*/ 16 h 86"/>
              <a:gd name="T92" fmla="*/ 16 w 114"/>
              <a:gd name="T93" fmla="*/ 14 h 86"/>
              <a:gd name="T94" fmla="*/ 21 w 114"/>
              <a:gd name="T95" fmla="*/ 9 h 86"/>
              <a:gd name="T96" fmla="*/ 35 w 114"/>
              <a:gd name="T97" fmla="*/ 8 h 86"/>
              <a:gd name="T98" fmla="*/ 41 w 114"/>
              <a:gd name="T99" fmla="*/ 9 h 86"/>
              <a:gd name="T100" fmla="*/ 47 w 114"/>
              <a:gd name="T101" fmla="*/ 6 h 86"/>
              <a:gd name="T102" fmla="*/ 53 w 114"/>
              <a:gd name="T103" fmla="*/ 7 h 86"/>
              <a:gd name="T104" fmla="*/ 55 w 114"/>
              <a:gd name="T105" fmla="*/ 3 h 86"/>
              <a:gd name="T106" fmla="*/ 66 w 114"/>
              <a:gd name="T107" fmla="*/ 1 h 86"/>
              <a:gd name="T108" fmla="*/ 81 w 114"/>
              <a:gd name="T109" fmla="*/ 1 h 86"/>
              <a:gd name="T110" fmla="*/ 92 w 114"/>
              <a:gd name="T111" fmla="*/ 4 h 86"/>
              <a:gd name="T112" fmla="*/ 95 w 114"/>
              <a:gd name="T113" fmla="*/ 7 h 86"/>
              <a:gd name="T114" fmla="*/ 80 w 114"/>
              <a:gd name="T115" fmla="*/ 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4" h="86">
                <a:moveTo>
                  <a:pt x="77" y="9"/>
                </a:moveTo>
                <a:cubicBezTo>
                  <a:pt x="77" y="10"/>
                  <a:pt x="78" y="9"/>
                  <a:pt x="78" y="10"/>
                </a:cubicBezTo>
                <a:cubicBezTo>
                  <a:pt x="79" y="10"/>
                  <a:pt x="80" y="9"/>
                  <a:pt x="80" y="9"/>
                </a:cubicBezTo>
                <a:cubicBezTo>
                  <a:pt x="80" y="9"/>
                  <a:pt x="80" y="10"/>
                  <a:pt x="81" y="10"/>
                </a:cubicBezTo>
                <a:cubicBezTo>
                  <a:pt x="81" y="10"/>
                  <a:pt x="82" y="10"/>
                  <a:pt x="82" y="9"/>
                </a:cubicBezTo>
                <a:cubicBezTo>
                  <a:pt x="82" y="9"/>
                  <a:pt x="83" y="10"/>
                  <a:pt x="83" y="9"/>
                </a:cubicBezTo>
                <a:cubicBezTo>
                  <a:pt x="85" y="9"/>
                  <a:pt x="87" y="8"/>
                  <a:pt x="88" y="9"/>
                </a:cubicBezTo>
                <a:cubicBezTo>
                  <a:pt x="88" y="10"/>
                  <a:pt x="86" y="9"/>
                  <a:pt x="86" y="10"/>
                </a:cubicBezTo>
                <a:cubicBezTo>
                  <a:pt x="86" y="11"/>
                  <a:pt x="87" y="10"/>
                  <a:pt x="87" y="10"/>
                </a:cubicBezTo>
                <a:cubicBezTo>
                  <a:pt x="88" y="10"/>
                  <a:pt x="87" y="11"/>
                  <a:pt x="89" y="10"/>
                </a:cubicBezTo>
                <a:cubicBezTo>
                  <a:pt x="89" y="10"/>
                  <a:pt x="90" y="10"/>
                  <a:pt x="90" y="10"/>
                </a:cubicBezTo>
                <a:cubicBezTo>
                  <a:pt x="90" y="10"/>
                  <a:pt x="92" y="9"/>
                  <a:pt x="92" y="9"/>
                </a:cubicBezTo>
                <a:cubicBezTo>
                  <a:pt x="93" y="10"/>
                  <a:pt x="92" y="9"/>
                  <a:pt x="93" y="9"/>
                </a:cubicBezTo>
                <a:cubicBezTo>
                  <a:pt x="93" y="9"/>
                  <a:pt x="94" y="9"/>
                  <a:pt x="94" y="9"/>
                </a:cubicBezTo>
                <a:cubicBezTo>
                  <a:pt x="94" y="8"/>
                  <a:pt x="95" y="8"/>
                  <a:pt x="96" y="8"/>
                </a:cubicBezTo>
                <a:cubicBezTo>
                  <a:pt x="96" y="9"/>
                  <a:pt x="97" y="9"/>
                  <a:pt x="96" y="9"/>
                </a:cubicBezTo>
                <a:cubicBezTo>
                  <a:pt x="96" y="10"/>
                  <a:pt x="95" y="10"/>
                  <a:pt x="95" y="10"/>
                </a:cubicBezTo>
                <a:cubicBezTo>
                  <a:pt x="95" y="11"/>
                  <a:pt x="94" y="12"/>
                  <a:pt x="93" y="12"/>
                </a:cubicBezTo>
                <a:cubicBezTo>
                  <a:pt x="93" y="13"/>
                  <a:pt x="94" y="11"/>
                  <a:pt x="95" y="12"/>
                </a:cubicBezTo>
                <a:cubicBezTo>
                  <a:pt x="96" y="12"/>
                  <a:pt x="95" y="11"/>
                  <a:pt x="95" y="11"/>
                </a:cubicBezTo>
                <a:cubicBezTo>
                  <a:pt x="96" y="10"/>
                  <a:pt x="98" y="11"/>
                  <a:pt x="98" y="10"/>
                </a:cubicBezTo>
                <a:cubicBezTo>
                  <a:pt x="99" y="11"/>
                  <a:pt x="102" y="9"/>
                  <a:pt x="102" y="10"/>
                </a:cubicBezTo>
                <a:cubicBezTo>
                  <a:pt x="103" y="10"/>
                  <a:pt x="103" y="10"/>
                  <a:pt x="104" y="9"/>
                </a:cubicBezTo>
                <a:cubicBezTo>
                  <a:pt x="105" y="9"/>
                  <a:pt x="106" y="9"/>
                  <a:pt x="108" y="9"/>
                </a:cubicBezTo>
                <a:cubicBezTo>
                  <a:pt x="107" y="9"/>
                  <a:pt x="108" y="9"/>
                  <a:pt x="108" y="9"/>
                </a:cubicBezTo>
                <a:cubicBezTo>
                  <a:pt x="108" y="9"/>
                  <a:pt x="110" y="9"/>
                  <a:pt x="110" y="9"/>
                </a:cubicBezTo>
                <a:cubicBezTo>
                  <a:pt x="111" y="10"/>
                  <a:pt x="111" y="9"/>
                  <a:pt x="111" y="9"/>
                </a:cubicBezTo>
                <a:cubicBezTo>
                  <a:pt x="112" y="9"/>
                  <a:pt x="113" y="10"/>
                  <a:pt x="114" y="10"/>
                </a:cubicBezTo>
                <a:cubicBezTo>
                  <a:pt x="114" y="11"/>
                  <a:pt x="114" y="11"/>
                  <a:pt x="113" y="11"/>
                </a:cubicBezTo>
                <a:cubicBezTo>
                  <a:pt x="113" y="11"/>
                  <a:pt x="113" y="12"/>
                  <a:pt x="112" y="12"/>
                </a:cubicBezTo>
                <a:cubicBezTo>
                  <a:pt x="111" y="12"/>
                  <a:pt x="109" y="12"/>
                  <a:pt x="109" y="14"/>
                </a:cubicBezTo>
                <a:cubicBezTo>
                  <a:pt x="108" y="14"/>
                  <a:pt x="106" y="14"/>
                  <a:pt x="106" y="14"/>
                </a:cubicBezTo>
                <a:cubicBezTo>
                  <a:pt x="106" y="15"/>
                  <a:pt x="107" y="15"/>
                  <a:pt x="105" y="15"/>
                </a:cubicBezTo>
                <a:cubicBezTo>
                  <a:pt x="105" y="16"/>
                  <a:pt x="106" y="15"/>
                  <a:pt x="107" y="16"/>
                </a:cubicBezTo>
                <a:cubicBezTo>
                  <a:pt x="106" y="17"/>
                  <a:pt x="104" y="17"/>
                  <a:pt x="103" y="18"/>
                </a:cubicBezTo>
                <a:cubicBezTo>
                  <a:pt x="103" y="18"/>
                  <a:pt x="104" y="18"/>
                  <a:pt x="103" y="17"/>
                </a:cubicBezTo>
                <a:cubicBezTo>
                  <a:pt x="103" y="17"/>
                  <a:pt x="102" y="18"/>
                  <a:pt x="101" y="18"/>
                </a:cubicBezTo>
                <a:cubicBezTo>
                  <a:pt x="101" y="19"/>
                  <a:pt x="102" y="19"/>
                  <a:pt x="102" y="19"/>
                </a:cubicBezTo>
                <a:cubicBezTo>
                  <a:pt x="101" y="20"/>
                  <a:pt x="102" y="20"/>
                  <a:pt x="101" y="21"/>
                </a:cubicBezTo>
                <a:cubicBezTo>
                  <a:pt x="101" y="22"/>
                  <a:pt x="99" y="22"/>
                  <a:pt x="99" y="22"/>
                </a:cubicBezTo>
                <a:cubicBezTo>
                  <a:pt x="99" y="22"/>
                  <a:pt x="99" y="23"/>
                  <a:pt x="99" y="23"/>
                </a:cubicBezTo>
                <a:cubicBezTo>
                  <a:pt x="99" y="24"/>
                  <a:pt x="98" y="24"/>
                  <a:pt x="97" y="24"/>
                </a:cubicBezTo>
                <a:cubicBezTo>
                  <a:pt x="98" y="25"/>
                  <a:pt x="98" y="25"/>
                  <a:pt x="98" y="25"/>
                </a:cubicBezTo>
                <a:cubicBezTo>
                  <a:pt x="98" y="26"/>
                  <a:pt x="100" y="26"/>
                  <a:pt x="100" y="26"/>
                </a:cubicBezTo>
                <a:cubicBezTo>
                  <a:pt x="100" y="26"/>
                  <a:pt x="100" y="27"/>
                  <a:pt x="100" y="27"/>
                </a:cubicBezTo>
                <a:cubicBezTo>
                  <a:pt x="101" y="28"/>
                  <a:pt x="101" y="27"/>
                  <a:pt x="102" y="28"/>
                </a:cubicBezTo>
                <a:cubicBezTo>
                  <a:pt x="102" y="29"/>
                  <a:pt x="102" y="29"/>
                  <a:pt x="102" y="30"/>
                </a:cubicBezTo>
                <a:cubicBezTo>
                  <a:pt x="101" y="30"/>
                  <a:pt x="99" y="30"/>
                  <a:pt x="97" y="30"/>
                </a:cubicBezTo>
                <a:cubicBezTo>
                  <a:pt x="99" y="32"/>
                  <a:pt x="100" y="33"/>
                  <a:pt x="102" y="33"/>
                </a:cubicBezTo>
                <a:cubicBezTo>
                  <a:pt x="102" y="34"/>
                  <a:pt x="102" y="34"/>
                  <a:pt x="103" y="34"/>
                </a:cubicBezTo>
                <a:cubicBezTo>
                  <a:pt x="103" y="35"/>
                  <a:pt x="102" y="34"/>
                  <a:pt x="102" y="35"/>
                </a:cubicBezTo>
                <a:cubicBezTo>
                  <a:pt x="102" y="36"/>
                  <a:pt x="101" y="36"/>
                  <a:pt x="101" y="36"/>
                </a:cubicBezTo>
                <a:cubicBezTo>
                  <a:pt x="100" y="38"/>
                  <a:pt x="102" y="37"/>
                  <a:pt x="102" y="38"/>
                </a:cubicBezTo>
                <a:cubicBezTo>
                  <a:pt x="101" y="38"/>
                  <a:pt x="101" y="39"/>
                  <a:pt x="102" y="39"/>
                </a:cubicBezTo>
                <a:cubicBezTo>
                  <a:pt x="101" y="40"/>
                  <a:pt x="100" y="39"/>
                  <a:pt x="99" y="39"/>
                </a:cubicBezTo>
                <a:cubicBezTo>
                  <a:pt x="98" y="39"/>
                  <a:pt x="99" y="40"/>
                  <a:pt x="98" y="40"/>
                </a:cubicBezTo>
                <a:cubicBezTo>
                  <a:pt x="98" y="41"/>
                  <a:pt x="98" y="41"/>
                  <a:pt x="99" y="42"/>
                </a:cubicBezTo>
                <a:cubicBezTo>
                  <a:pt x="99" y="42"/>
                  <a:pt x="98" y="42"/>
                  <a:pt x="97" y="42"/>
                </a:cubicBezTo>
                <a:cubicBezTo>
                  <a:pt x="96" y="42"/>
                  <a:pt x="94" y="43"/>
                  <a:pt x="93" y="44"/>
                </a:cubicBezTo>
                <a:cubicBezTo>
                  <a:pt x="93" y="44"/>
                  <a:pt x="94" y="44"/>
                  <a:pt x="95" y="44"/>
                </a:cubicBezTo>
                <a:cubicBezTo>
                  <a:pt x="95" y="44"/>
                  <a:pt x="95" y="46"/>
                  <a:pt x="96" y="45"/>
                </a:cubicBezTo>
                <a:cubicBezTo>
                  <a:pt x="97" y="46"/>
                  <a:pt x="96" y="46"/>
                  <a:pt x="95" y="47"/>
                </a:cubicBezTo>
                <a:cubicBezTo>
                  <a:pt x="95" y="47"/>
                  <a:pt x="96" y="49"/>
                  <a:pt x="95" y="49"/>
                </a:cubicBezTo>
                <a:cubicBezTo>
                  <a:pt x="96" y="51"/>
                  <a:pt x="99" y="50"/>
                  <a:pt x="99" y="52"/>
                </a:cubicBezTo>
                <a:cubicBezTo>
                  <a:pt x="98" y="52"/>
                  <a:pt x="97" y="53"/>
                  <a:pt x="97" y="52"/>
                </a:cubicBezTo>
                <a:cubicBezTo>
                  <a:pt x="97" y="52"/>
                  <a:pt x="97" y="52"/>
                  <a:pt x="97" y="52"/>
                </a:cubicBezTo>
                <a:cubicBezTo>
                  <a:pt x="96" y="54"/>
                  <a:pt x="95" y="54"/>
                  <a:pt x="93" y="53"/>
                </a:cubicBezTo>
                <a:cubicBezTo>
                  <a:pt x="94" y="52"/>
                  <a:pt x="91" y="53"/>
                  <a:pt x="92" y="51"/>
                </a:cubicBezTo>
                <a:cubicBezTo>
                  <a:pt x="90" y="51"/>
                  <a:pt x="90" y="52"/>
                  <a:pt x="89" y="52"/>
                </a:cubicBezTo>
                <a:cubicBezTo>
                  <a:pt x="89" y="53"/>
                  <a:pt x="89" y="53"/>
                  <a:pt x="88" y="53"/>
                </a:cubicBezTo>
                <a:cubicBezTo>
                  <a:pt x="88" y="54"/>
                  <a:pt x="91" y="54"/>
                  <a:pt x="89" y="54"/>
                </a:cubicBezTo>
                <a:cubicBezTo>
                  <a:pt x="89" y="55"/>
                  <a:pt x="90" y="54"/>
                  <a:pt x="91" y="54"/>
                </a:cubicBezTo>
                <a:cubicBezTo>
                  <a:pt x="92" y="54"/>
                  <a:pt x="94" y="55"/>
                  <a:pt x="95" y="55"/>
                </a:cubicBezTo>
                <a:cubicBezTo>
                  <a:pt x="94" y="56"/>
                  <a:pt x="93" y="57"/>
                  <a:pt x="92" y="58"/>
                </a:cubicBezTo>
                <a:cubicBezTo>
                  <a:pt x="91" y="58"/>
                  <a:pt x="90" y="59"/>
                  <a:pt x="89" y="59"/>
                </a:cubicBezTo>
                <a:cubicBezTo>
                  <a:pt x="89" y="59"/>
                  <a:pt x="88" y="59"/>
                  <a:pt x="88" y="59"/>
                </a:cubicBezTo>
                <a:cubicBezTo>
                  <a:pt x="88" y="60"/>
                  <a:pt x="88" y="59"/>
                  <a:pt x="87" y="59"/>
                </a:cubicBezTo>
                <a:cubicBezTo>
                  <a:pt x="86" y="59"/>
                  <a:pt x="85" y="60"/>
                  <a:pt x="83" y="60"/>
                </a:cubicBezTo>
                <a:cubicBezTo>
                  <a:pt x="82" y="60"/>
                  <a:pt x="83" y="60"/>
                  <a:pt x="83" y="60"/>
                </a:cubicBezTo>
                <a:cubicBezTo>
                  <a:pt x="82" y="61"/>
                  <a:pt x="82" y="61"/>
                  <a:pt x="81" y="61"/>
                </a:cubicBezTo>
                <a:cubicBezTo>
                  <a:pt x="81" y="61"/>
                  <a:pt x="81" y="61"/>
                  <a:pt x="81" y="61"/>
                </a:cubicBezTo>
                <a:cubicBezTo>
                  <a:pt x="81" y="62"/>
                  <a:pt x="78" y="62"/>
                  <a:pt x="79" y="61"/>
                </a:cubicBezTo>
                <a:cubicBezTo>
                  <a:pt x="78" y="61"/>
                  <a:pt x="77" y="61"/>
                  <a:pt x="77" y="61"/>
                </a:cubicBezTo>
                <a:cubicBezTo>
                  <a:pt x="77" y="62"/>
                  <a:pt x="77" y="63"/>
                  <a:pt x="77" y="63"/>
                </a:cubicBezTo>
                <a:cubicBezTo>
                  <a:pt x="77" y="63"/>
                  <a:pt x="76" y="63"/>
                  <a:pt x="75" y="63"/>
                </a:cubicBezTo>
                <a:cubicBezTo>
                  <a:pt x="75" y="63"/>
                  <a:pt x="76" y="64"/>
                  <a:pt x="76" y="65"/>
                </a:cubicBezTo>
                <a:cubicBezTo>
                  <a:pt x="75" y="65"/>
                  <a:pt x="75" y="65"/>
                  <a:pt x="74" y="65"/>
                </a:cubicBezTo>
                <a:cubicBezTo>
                  <a:pt x="74" y="65"/>
                  <a:pt x="74" y="65"/>
                  <a:pt x="74" y="66"/>
                </a:cubicBezTo>
                <a:cubicBezTo>
                  <a:pt x="74" y="66"/>
                  <a:pt x="74" y="66"/>
                  <a:pt x="74" y="66"/>
                </a:cubicBezTo>
                <a:cubicBezTo>
                  <a:pt x="73" y="66"/>
                  <a:pt x="73" y="67"/>
                  <a:pt x="73" y="67"/>
                </a:cubicBezTo>
                <a:cubicBezTo>
                  <a:pt x="72" y="67"/>
                  <a:pt x="70" y="67"/>
                  <a:pt x="71" y="68"/>
                </a:cubicBezTo>
                <a:cubicBezTo>
                  <a:pt x="69" y="69"/>
                  <a:pt x="67" y="69"/>
                  <a:pt x="64" y="69"/>
                </a:cubicBezTo>
                <a:cubicBezTo>
                  <a:pt x="63" y="69"/>
                  <a:pt x="63" y="72"/>
                  <a:pt x="61" y="71"/>
                </a:cubicBezTo>
                <a:cubicBezTo>
                  <a:pt x="62" y="71"/>
                  <a:pt x="62" y="71"/>
                  <a:pt x="62" y="72"/>
                </a:cubicBezTo>
                <a:cubicBezTo>
                  <a:pt x="62" y="72"/>
                  <a:pt x="61" y="72"/>
                  <a:pt x="61" y="72"/>
                </a:cubicBezTo>
                <a:cubicBezTo>
                  <a:pt x="61" y="72"/>
                  <a:pt x="61" y="73"/>
                  <a:pt x="61" y="73"/>
                </a:cubicBezTo>
                <a:cubicBezTo>
                  <a:pt x="61" y="73"/>
                  <a:pt x="61" y="73"/>
                  <a:pt x="61" y="73"/>
                </a:cubicBezTo>
                <a:cubicBezTo>
                  <a:pt x="61" y="74"/>
                  <a:pt x="60" y="75"/>
                  <a:pt x="60" y="75"/>
                </a:cubicBezTo>
                <a:cubicBezTo>
                  <a:pt x="61" y="76"/>
                  <a:pt x="60" y="76"/>
                  <a:pt x="60" y="76"/>
                </a:cubicBezTo>
                <a:cubicBezTo>
                  <a:pt x="59" y="76"/>
                  <a:pt x="59" y="76"/>
                  <a:pt x="59" y="77"/>
                </a:cubicBezTo>
                <a:cubicBezTo>
                  <a:pt x="59" y="77"/>
                  <a:pt x="59" y="78"/>
                  <a:pt x="59" y="78"/>
                </a:cubicBezTo>
                <a:cubicBezTo>
                  <a:pt x="58" y="78"/>
                  <a:pt x="59" y="79"/>
                  <a:pt x="58" y="79"/>
                </a:cubicBezTo>
                <a:cubicBezTo>
                  <a:pt x="58" y="80"/>
                  <a:pt x="57" y="79"/>
                  <a:pt x="57" y="79"/>
                </a:cubicBezTo>
                <a:cubicBezTo>
                  <a:pt x="57" y="80"/>
                  <a:pt x="58" y="80"/>
                  <a:pt x="58" y="80"/>
                </a:cubicBezTo>
                <a:cubicBezTo>
                  <a:pt x="58" y="81"/>
                  <a:pt x="57" y="81"/>
                  <a:pt x="57" y="82"/>
                </a:cubicBezTo>
                <a:cubicBezTo>
                  <a:pt x="57" y="82"/>
                  <a:pt x="58" y="83"/>
                  <a:pt x="58" y="83"/>
                </a:cubicBezTo>
                <a:cubicBezTo>
                  <a:pt x="57" y="84"/>
                  <a:pt x="56" y="85"/>
                  <a:pt x="55" y="86"/>
                </a:cubicBezTo>
                <a:cubicBezTo>
                  <a:pt x="53" y="86"/>
                  <a:pt x="53" y="85"/>
                  <a:pt x="52" y="84"/>
                </a:cubicBezTo>
                <a:cubicBezTo>
                  <a:pt x="50" y="86"/>
                  <a:pt x="48" y="83"/>
                  <a:pt x="48" y="83"/>
                </a:cubicBezTo>
                <a:cubicBezTo>
                  <a:pt x="48" y="83"/>
                  <a:pt x="47" y="84"/>
                  <a:pt x="47" y="84"/>
                </a:cubicBezTo>
                <a:cubicBezTo>
                  <a:pt x="47" y="84"/>
                  <a:pt x="47" y="83"/>
                  <a:pt x="46" y="83"/>
                </a:cubicBezTo>
                <a:cubicBezTo>
                  <a:pt x="46" y="82"/>
                  <a:pt x="45" y="82"/>
                  <a:pt x="45" y="81"/>
                </a:cubicBezTo>
                <a:cubicBezTo>
                  <a:pt x="45" y="80"/>
                  <a:pt x="44" y="80"/>
                  <a:pt x="43" y="79"/>
                </a:cubicBezTo>
                <a:cubicBezTo>
                  <a:pt x="43" y="79"/>
                  <a:pt x="44" y="79"/>
                  <a:pt x="44" y="79"/>
                </a:cubicBezTo>
                <a:cubicBezTo>
                  <a:pt x="44" y="78"/>
                  <a:pt x="43" y="78"/>
                  <a:pt x="42" y="78"/>
                </a:cubicBezTo>
                <a:cubicBezTo>
                  <a:pt x="42" y="77"/>
                  <a:pt x="42" y="76"/>
                  <a:pt x="41" y="76"/>
                </a:cubicBezTo>
                <a:cubicBezTo>
                  <a:pt x="41" y="77"/>
                  <a:pt x="41" y="76"/>
                  <a:pt x="41" y="76"/>
                </a:cubicBezTo>
                <a:cubicBezTo>
                  <a:pt x="41" y="75"/>
                  <a:pt x="41" y="76"/>
                  <a:pt x="40" y="75"/>
                </a:cubicBezTo>
                <a:cubicBezTo>
                  <a:pt x="40" y="75"/>
                  <a:pt x="41" y="74"/>
                  <a:pt x="40" y="74"/>
                </a:cubicBezTo>
                <a:cubicBezTo>
                  <a:pt x="39" y="74"/>
                  <a:pt x="40" y="72"/>
                  <a:pt x="39" y="73"/>
                </a:cubicBezTo>
                <a:cubicBezTo>
                  <a:pt x="39" y="73"/>
                  <a:pt x="39" y="72"/>
                  <a:pt x="38" y="72"/>
                </a:cubicBezTo>
                <a:cubicBezTo>
                  <a:pt x="38" y="71"/>
                  <a:pt x="38" y="71"/>
                  <a:pt x="39" y="71"/>
                </a:cubicBezTo>
                <a:cubicBezTo>
                  <a:pt x="38" y="70"/>
                  <a:pt x="37" y="70"/>
                  <a:pt x="37" y="70"/>
                </a:cubicBezTo>
                <a:cubicBezTo>
                  <a:pt x="36" y="68"/>
                  <a:pt x="36" y="68"/>
                  <a:pt x="37" y="66"/>
                </a:cubicBezTo>
                <a:cubicBezTo>
                  <a:pt x="36" y="65"/>
                  <a:pt x="38" y="64"/>
                  <a:pt x="36" y="65"/>
                </a:cubicBezTo>
                <a:cubicBezTo>
                  <a:pt x="36" y="64"/>
                  <a:pt x="37" y="64"/>
                  <a:pt x="37" y="64"/>
                </a:cubicBezTo>
                <a:cubicBezTo>
                  <a:pt x="37" y="64"/>
                  <a:pt x="37" y="63"/>
                  <a:pt x="37" y="63"/>
                </a:cubicBezTo>
                <a:cubicBezTo>
                  <a:pt x="37" y="63"/>
                  <a:pt x="38" y="64"/>
                  <a:pt x="38" y="64"/>
                </a:cubicBezTo>
                <a:cubicBezTo>
                  <a:pt x="38" y="63"/>
                  <a:pt x="38" y="62"/>
                  <a:pt x="38" y="61"/>
                </a:cubicBezTo>
                <a:cubicBezTo>
                  <a:pt x="39" y="61"/>
                  <a:pt x="39" y="60"/>
                  <a:pt x="39" y="60"/>
                </a:cubicBezTo>
                <a:cubicBezTo>
                  <a:pt x="40" y="60"/>
                  <a:pt x="40" y="60"/>
                  <a:pt x="40" y="61"/>
                </a:cubicBezTo>
                <a:cubicBezTo>
                  <a:pt x="40" y="61"/>
                  <a:pt x="40" y="60"/>
                  <a:pt x="41" y="60"/>
                </a:cubicBezTo>
                <a:cubicBezTo>
                  <a:pt x="42" y="59"/>
                  <a:pt x="41" y="59"/>
                  <a:pt x="41" y="59"/>
                </a:cubicBezTo>
                <a:cubicBezTo>
                  <a:pt x="41" y="58"/>
                  <a:pt x="42" y="58"/>
                  <a:pt x="42" y="58"/>
                </a:cubicBezTo>
                <a:cubicBezTo>
                  <a:pt x="42" y="57"/>
                  <a:pt x="41" y="57"/>
                  <a:pt x="42" y="56"/>
                </a:cubicBezTo>
                <a:cubicBezTo>
                  <a:pt x="40" y="57"/>
                  <a:pt x="43" y="55"/>
                  <a:pt x="39" y="55"/>
                </a:cubicBezTo>
                <a:cubicBezTo>
                  <a:pt x="39" y="54"/>
                  <a:pt x="41" y="54"/>
                  <a:pt x="42" y="54"/>
                </a:cubicBezTo>
                <a:cubicBezTo>
                  <a:pt x="42" y="53"/>
                  <a:pt x="41" y="54"/>
                  <a:pt x="41" y="53"/>
                </a:cubicBezTo>
                <a:cubicBezTo>
                  <a:pt x="41" y="52"/>
                  <a:pt x="41" y="53"/>
                  <a:pt x="40" y="52"/>
                </a:cubicBezTo>
                <a:cubicBezTo>
                  <a:pt x="40" y="52"/>
                  <a:pt x="41" y="52"/>
                  <a:pt x="40" y="51"/>
                </a:cubicBezTo>
                <a:cubicBezTo>
                  <a:pt x="40" y="51"/>
                  <a:pt x="39" y="51"/>
                  <a:pt x="39" y="51"/>
                </a:cubicBezTo>
                <a:cubicBezTo>
                  <a:pt x="39" y="51"/>
                  <a:pt x="38" y="49"/>
                  <a:pt x="38" y="49"/>
                </a:cubicBezTo>
                <a:cubicBezTo>
                  <a:pt x="37" y="49"/>
                  <a:pt x="37" y="50"/>
                  <a:pt x="36" y="49"/>
                </a:cubicBezTo>
                <a:cubicBezTo>
                  <a:pt x="36" y="49"/>
                  <a:pt x="36" y="50"/>
                  <a:pt x="36" y="50"/>
                </a:cubicBezTo>
                <a:cubicBezTo>
                  <a:pt x="35" y="50"/>
                  <a:pt x="34" y="50"/>
                  <a:pt x="33" y="50"/>
                </a:cubicBezTo>
                <a:cubicBezTo>
                  <a:pt x="32" y="48"/>
                  <a:pt x="33" y="47"/>
                  <a:pt x="33" y="44"/>
                </a:cubicBezTo>
                <a:cubicBezTo>
                  <a:pt x="33" y="44"/>
                  <a:pt x="33" y="44"/>
                  <a:pt x="33" y="43"/>
                </a:cubicBezTo>
                <a:cubicBezTo>
                  <a:pt x="33" y="43"/>
                  <a:pt x="33" y="44"/>
                  <a:pt x="32" y="44"/>
                </a:cubicBezTo>
                <a:cubicBezTo>
                  <a:pt x="31" y="44"/>
                  <a:pt x="33" y="41"/>
                  <a:pt x="31" y="42"/>
                </a:cubicBezTo>
                <a:cubicBezTo>
                  <a:pt x="32" y="41"/>
                  <a:pt x="32" y="41"/>
                  <a:pt x="31" y="40"/>
                </a:cubicBezTo>
                <a:cubicBezTo>
                  <a:pt x="31" y="40"/>
                  <a:pt x="30" y="40"/>
                  <a:pt x="30" y="40"/>
                </a:cubicBezTo>
                <a:cubicBezTo>
                  <a:pt x="29" y="39"/>
                  <a:pt x="29" y="38"/>
                  <a:pt x="29" y="37"/>
                </a:cubicBezTo>
                <a:cubicBezTo>
                  <a:pt x="29" y="37"/>
                  <a:pt x="28" y="37"/>
                  <a:pt x="28" y="36"/>
                </a:cubicBezTo>
                <a:cubicBezTo>
                  <a:pt x="27" y="36"/>
                  <a:pt x="27" y="35"/>
                  <a:pt x="27" y="35"/>
                </a:cubicBezTo>
                <a:cubicBezTo>
                  <a:pt x="27" y="35"/>
                  <a:pt x="26" y="35"/>
                  <a:pt x="26" y="35"/>
                </a:cubicBezTo>
                <a:cubicBezTo>
                  <a:pt x="25" y="34"/>
                  <a:pt x="22" y="35"/>
                  <a:pt x="21" y="33"/>
                </a:cubicBezTo>
                <a:cubicBezTo>
                  <a:pt x="19" y="34"/>
                  <a:pt x="15" y="32"/>
                  <a:pt x="14" y="33"/>
                </a:cubicBezTo>
                <a:cubicBezTo>
                  <a:pt x="14" y="34"/>
                  <a:pt x="14" y="33"/>
                  <a:pt x="13" y="33"/>
                </a:cubicBezTo>
                <a:cubicBezTo>
                  <a:pt x="12" y="33"/>
                  <a:pt x="11" y="34"/>
                  <a:pt x="10" y="34"/>
                </a:cubicBezTo>
                <a:cubicBezTo>
                  <a:pt x="10" y="34"/>
                  <a:pt x="9" y="34"/>
                  <a:pt x="9" y="34"/>
                </a:cubicBezTo>
                <a:cubicBezTo>
                  <a:pt x="9" y="34"/>
                  <a:pt x="8" y="34"/>
                  <a:pt x="8" y="34"/>
                </a:cubicBezTo>
                <a:cubicBezTo>
                  <a:pt x="8" y="33"/>
                  <a:pt x="7" y="33"/>
                  <a:pt x="7" y="32"/>
                </a:cubicBezTo>
                <a:cubicBezTo>
                  <a:pt x="7" y="32"/>
                  <a:pt x="8" y="32"/>
                  <a:pt x="8" y="32"/>
                </a:cubicBezTo>
                <a:cubicBezTo>
                  <a:pt x="8" y="32"/>
                  <a:pt x="7" y="31"/>
                  <a:pt x="9" y="31"/>
                </a:cubicBezTo>
                <a:cubicBezTo>
                  <a:pt x="8" y="30"/>
                  <a:pt x="5" y="31"/>
                  <a:pt x="4" y="30"/>
                </a:cubicBezTo>
                <a:cubicBezTo>
                  <a:pt x="5" y="28"/>
                  <a:pt x="8" y="30"/>
                  <a:pt x="10" y="28"/>
                </a:cubicBezTo>
                <a:cubicBezTo>
                  <a:pt x="9" y="27"/>
                  <a:pt x="6" y="28"/>
                  <a:pt x="4" y="28"/>
                </a:cubicBezTo>
                <a:cubicBezTo>
                  <a:pt x="4" y="28"/>
                  <a:pt x="4" y="27"/>
                  <a:pt x="4" y="27"/>
                </a:cubicBezTo>
                <a:cubicBezTo>
                  <a:pt x="4" y="27"/>
                  <a:pt x="4" y="27"/>
                  <a:pt x="4" y="27"/>
                </a:cubicBezTo>
                <a:cubicBezTo>
                  <a:pt x="4" y="27"/>
                  <a:pt x="4" y="27"/>
                  <a:pt x="4" y="26"/>
                </a:cubicBezTo>
                <a:cubicBezTo>
                  <a:pt x="2" y="27"/>
                  <a:pt x="1" y="26"/>
                  <a:pt x="0" y="25"/>
                </a:cubicBezTo>
                <a:cubicBezTo>
                  <a:pt x="1" y="22"/>
                  <a:pt x="4" y="23"/>
                  <a:pt x="7" y="23"/>
                </a:cubicBezTo>
                <a:cubicBezTo>
                  <a:pt x="8" y="22"/>
                  <a:pt x="7" y="22"/>
                  <a:pt x="8" y="22"/>
                </a:cubicBezTo>
                <a:cubicBezTo>
                  <a:pt x="8" y="22"/>
                  <a:pt x="8" y="22"/>
                  <a:pt x="8" y="22"/>
                </a:cubicBezTo>
                <a:cubicBezTo>
                  <a:pt x="9" y="21"/>
                  <a:pt x="11" y="21"/>
                  <a:pt x="12" y="21"/>
                </a:cubicBezTo>
                <a:cubicBezTo>
                  <a:pt x="12" y="21"/>
                  <a:pt x="12" y="21"/>
                  <a:pt x="12" y="20"/>
                </a:cubicBezTo>
                <a:cubicBezTo>
                  <a:pt x="13" y="20"/>
                  <a:pt x="13" y="20"/>
                  <a:pt x="14" y="20"/>
                </a:cubicBezTo>
                <a:cubicBezTo>
                  <a:pt x="14" y="19"/>
                  <a:pt x="15" y="19"/>
                  <a:pt x="15" y="18"/>
                </a:cubicBezTo>
                <a:cubicBezTo>
                  <a:pt x="16" y="17"/>
                  <a:pt x="14" y="18"/>
                  <a:pt x="14" y="16"/>
                </a:cubicBezTo>
                <a:cubicBezTo>
                  <a:pt x="13" y="16"/>
                  <a:pt x="14" y="17"/>
                  <a:pt x="13" y="17"/>
                </a:cubicBezTo>
                <a:cubicBezTo>
                  <a:pt x="13" y="18"/>
                  <a:pt x="11" y="16"/>
                  <a:pt x="10" y="17"/>
                </a:cubicBezTo>
                <a:cubicBezTo>
                  <a:pt x="9" y="16"/>
                  <a:pt x="11" y="16"/>
                  <a:pt x="11" y="16"/>
                </a:cubicBezTo>
                <a:cubicBezTo>
                  <a:pt x="11" y="16"/>
                  <a:pt x="11" y="16"/>
                  <a:pt x="11" y="16"/>
                </a:cubicBezTo>
                <a:cubicBezTo>
                  <a:pt x="11" y="15"/>
                  <a:pt x="12" y="16"/>
                  <a:pt x="12" y="16"/>
                </a:cubicBezTo>
                <a:cubicBezTo>
                  <a:pt x="12" y="15"/>
                  <a:pt x="12" y="15"/>
                  <a:pt x="12" y="15"/>
                </a:cubicBezTo>
                <a:cubicBezTo>
                  <a:pt x="13" y="14"/>
                  <a:pt x="13" y="15"/>
                  <a:pt x="13" y="15"/>
                </a:cubicBezTo>
                <a:cubicBezTo>
                  <a:pt x="13" y="15"/>
                  <a:pt x="15" y="15"/>
                  <a:pt x="14" y="14"/>
                </a:cubicBezTo>
                <a:cubicBezTo>
                  <a:pt x="15" y="14"/>
                  <a:pt x="15" y="14"/>
                  <a:pt x="16" y="14"/>
                </a:cubicBezTo>
                <a:cubicBezTo>
                  <a:pt x="17" y="14"/>
                  <a:pt x="16" y="14"/>
                  <a:pt x="16" y="14"/>
                </a:cubicBezTo>
                <a:cubicBezTo>
                  <a:pt x="16" y="13"/>
                  <a:pt x="17" y="13"/>
                  <a:pt x="17" y="12"/>
                </a:cubicBezTo>
                <a:cubicBezTo>
                  <a:pt x="18" y="12"/>
                  <a:pt x="19" y="12"/>
                  <a:pt x="20" y="12"/>
                </a:cubicBezTo>
                <a:cubicBezTo>
                  <a:pt x="21" y="12"/>
                  <a:pt x="21" y="10"/>
                  <a:pt x="21" y="9"/>
                </a:cubicBezTo>
                <a:cubicBezTo>
                  <a:pt x="23" y="10"/>
                  <a:pt x="24" y="10"/>
                  <a:pt x="25" y="9"/>
                </a:cubicBezTo>
                <a:cubicBezTo>
                  <a:pt x="25" y="9"/>
                  <a:pt x="25" y="9"/>
                  <a:pt x="25" y="9"/>
                </a:cubicBezTo>
                <a:cubicBezTo>
                  <a:pt x="25" y="8"/>
                  <a:pt x="27" y="9"/>
                  <a:pt x="27" y="8"/>
                </a:cubicBezTo>
                <a:cubicBezTo>
                  <a:pt x="28" y="7"/>
                  <a:pt x="32" y="8"/>
                  <a:pt x="35" y="8"/>
                </a:cubicBezTo>
                <a:cubicBezTo>
                  <a:pt x="36" y="8"/>
                  <a:pt x="36" y="7"/>
                  <a:pt x="36" y="7"/>
                </a:cubicBezTo>
                <a:cubicBezTo>
                  <a:pt x="38" y="7"/>
                  <a:pt x="39" y="8"/>
                  <a:pt x="39" y="7"/>
                </a:cubicBezTo>
                <a:cubicBezTo>
                  <a:pt x="39" y="8"/>
                  <a:pt x="40" y="9"/>
                  <a:pt x="40" y="9"/>
                </a:cubicBezTo>
                <a:cubicBezTo>
                  <a:pt x="41" y="8"/>
                  <a:pt x="40" y="8"/>
                  <a:pt x="41" y="9"/>
                </a:cubicBezTo>
                <a:cubicBezTo>
                  <a:pt x="42" y="9"/>
                  <a:pt x="41" y="8"/>
                  <a:pt x="43" y="9"/>
                </a:cubicBezTo>
                <a:cubicBezTo>
                  <a:pt x="42" y="8"/>
                  <a:pt x="43" y="7"/>
                  <a:pt x="41" y="7"/>
                </a:cubicBezTo>
                <a:cubicBezTo>
                  <a:pt x="42" y="6"/>
                  <a:pt x="45" y="4"/>
                  <a:pt x="45" y="6"/>
                </a:cubicBezTo>
                <a:cubicBezTo>
                  <a:pt x="47" y="6"/>
                  <a:pt x="46" y="6"/>
                  <a:pt x="47" y="6"/>
                </a:cubicBezTo>
                <a:cubicBezTo>
                  <a:pt x="48" y="7"/>
                  <a:pt x="48" y="7"/>
                  <a:pt x="49" y="7"/>
                </a:cubicBezTo>
                <a:cubicBezTo>
                  <a:pt x="49" y="7"/>
                  <a:pt x="51" y="8"/>
                  <a:pt x="53" y="8"/>
                </a:cubicBezTo>
                <a:cubicBezTo>
                  <a:pt x="53" y="8"/>
                  <a:pt x="52" y="8"/>
                  <a:pt x="52" y="8"/>
                </a:cubicBezTo>
                <a:cubicBezTo>
                  <a:pt x="52" y="7"/>
                  <a:pt x="52" y="7"/>
                  <a:pt x="53" y="7"/>
                </a:cubicBezTo>
                <a:cubicBezTo>
                  <a:pt x="52" y="6"/>
                  <a:pt x="50" y="6"/>
                  <a:pt x="49" y="5"/>
                </a:cubicBezTo>
                <a:cubicBezTo>
                  <a:pt x="49" y="4"/>
                  <a:pt x="51" y="4"/>
                  <a:pt x="52" y="4"/>
                </a:cubicBezTo>
                <a:cubicBezTo>
                  <a:pt x="52" y="3"/>
                  <a:pt x="51" y="3"/>
                  <a:pt x="51" y="3"/>
                </a:cubicBezTo>
                <a:cubicBezTo>
                  <a:pt x="52" y="1"/>
                  <a:pt x="53" y="3"/>
                  <a:pt x="55" y="3"/>
                </a:cubicBezTo>
                <a:cubicBezTo>
                  <a:pt x="56" y="4"/>
                  <a:pt x="56" y="3"/>
                  <a:pt x="57" y="3"/>
                </a:cubicBezTo>
                <a:cubicBezTo>
                  <a:pt x="59" y="3"/>
                  <a:pt x="61" y="4"/>
                  <a:pt x="62" y="3"/>
                </a:cubicBezTo>
                <a:cubicBezTo>
                  <a:pt x="63" y="3"/>
                  <a:pt x="64" y="3"/>
                  <a:pt x="65" y="2"/>
                </a:cubicBezTo>
                <a:cubicBezTo>
                  <a:pt x="66" y="2"/>
                  <a:pt x="66" y="2"/>
                  <a:pt x="66" y="1"/>
                </a:cubicBezTo>
                <a:cubicBezTo>
                  <a:pt x="66" y="1"/>
                  <a:pt x="67" y="1"/>
                  <a:pt x="68" y="1"/>
                </a:cubicBezTo>
                <a:cubicBezTo>
                  <a:pt x="69" y="1"/>
                  <a:pt x="69" y="1"/>
                  <a:pt x="69" y="1"/>
                </a:cubicBezTo>
                <a:cubicBezTo>
                  <a:pt x="70" y="1"/>
                  <a:pt x="72" y="1"/>
                  <a:pt x="74" y="1"/>
                </a:cubicBezTo>
                <a:cubicBezTo>
                  <a:pt x="75" y="1"/>
                  <a:pt x="78" y="0"/>
                  <a:pt x="81" y="1"/>
                </a:cubicBezTo>
                <a:cubicBezTo>
                  <a:pt x="81" y="1"/>
                  <a:pt x="81" y="1"/>
                  <a:pt x="82" y="1"/>
                </a:cubicBezTo>
                <a:cubicBezTo>
                  <a:pt x="85" y="2"/>
                  <a:pt x="87" y="1"/>
                  <a:pt x="87" y="3"/>
                </a:cubicBezTo>
                <a:cubicBezTo>
                  <a:pt x="88" y="3"/>
                  <a:pt x="88" y="2"/>
                  <a:pt x="89" y="2"/>
                </a:cubicBezTo>
                <a:cubicBezTo>
                  <a:pt x="89" y="4"/>
                  <a:pt x="91" y="4"/>
                  <a:pt x="92" y="4"/>
                </a:cubicBezTo>
                <a:cubicBezTo>
                  <a:pt x="93" y="5"/>
                  <a:pt x="93" y="4"/>
                  <a:pt x="94" y="4"/>
                </a:cubicBezTo>
                <a:cubicBezTo>
                  <a:pt x="94" y="6"/>
                  <a:pt x="96" y="5"/>
                  <a:pt x="97" y="5"/>
                </a:cubicBezTo>
                <a:cubicBezTo>
                  <a:pt x="96" y="6"/>
                  <a:pt x="96" y="5"/>
                  <a:pt x="96" y="7"/>
                </a:cubicBezTo>
                <a:cubicBezTo>
                  <a:pt x="96" y="6"/>
                  <a:pt x="95" y="6"/>
                  <a:pt x="95" y="7"/>
                </a:cubicBezTo>
                <a:cubicBezTo>
                  <a:pt x="91" y="8"/>
                  <a:pt x="85" y="8"/>
                  <a:pt x="81" y="8"/>
                </a:cubicBezTo>
                <a:cubicBezTo>
                  <a:pt x="81" y="8"/>
                  <a:pt x="81" y="8"/>
                  <a:pt x="81" y="9"/>
                </a:cubicBezTo>
                <a:cubicBezTo>
                  <a:pt x="80" y="8"/>
                  <a:pt x="80" y="8"/>
                  <a:pt x="81" y="8"/>
                </a:cubicBezTo>
                <a:cubicBezTo>
                  <a:pt x="81" y="8"/>
                  <a:pt x="80" y="7"/>
                  <a:pt x="80" y="8"/>
                </a:cubicBezTo>
                <a:cubicBezTo>
                  <a:pt x="80" y="8"/>
                  <a:pt x="80" y="9"/>
                  <a:pt x="80" y="9"/>
                </a:cubicBezTo>
                <a:cubicBezTo>
                  <a:pt x="79" y="9"/>
                  <a:pt x="78" y="8"/>
                  <a:pt x="77" y="9"/>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6" name="Freeform 82"/>
          <p:cNvSpPr/>
          <p:nvPr/>
        </p:nvSpPr>
        <p:spPr bwMode="auto">
          <a:xfrm>
            <a:off x="2452357" y="1446213"/>
            <a:ext cx="554038" cy="298450"/>
          </a:xfrm>
          <a:custGeom>
            <a:avLst/>
            <a:gdLst>
              <a:gd name="T0" fmla="*/ 53 w 56"/>
              <a:gd name="T1" fmla="*/ 3 h 30"/>
              <a:gd name="T2" fmla="*/ 56 w 56"/>
              <a:gd name="T3" fmla="*/ 5 h 30"/>
              <a:gd name="T4" fmla="*/ 54 w 56"/>
              <a:gd name="T5" fmla="*/ 6 h 30"/>
              <a:gd name="T6" fmla="*/ 52 w 56"/>
              <a:gd name="T7" fmla="*/ 6 h 30"/>
              <a:gd name="T8" fmla="*/ 46 w 56"/>
              <a:gd name="T9" fmla="*/ 8 h 30"/>
              <a:gd name="T10" fmla="*/ 48 w 56"/>
              <a:gd name="T11" fmla="*/ 9 h 30"/>
              <a:gd name="T12" fmla="*/ 43 w 56"/>
              <a:gd name="T13" fmla="*/ 11 h 30"/>
              <a:gd name="T14" fmla="*/ 41 w 56"/>
              <a:gd name="T15" fmla="*/ 12 h 30"/>
              <a:gd name="T16" fmla="*/ 38 w 56"/>
              <a:gd name="T17" fmla="*/ 13 h 30"/>
              <a:gd name="T18" fmla="*/ 33 w 56"/>
              <a:gd name="T19" fmla="*/ 15 h 30"/>
              <a:gd name="T20" fmla="*/ 32 w 56"/>
              <a:gd name="T21" fmla="*/ 17 h 30"/>
              <a:gd name="T22" fmla="*/ 29 w 56"/>
              <a:gd name="T23" fmla="*/ 17 h 30"/>
              <a:gd name="T24" fmla="*/ 31 w 56"/>
              <a:gd name="T25" fmla="*/ 20 h 30"/>
              <a:gd name="T26" fmla="*/ 27 w 56"/>
              <a:gd name="T27" fmla="*/ 22 h 30"/>
              <a:gd name="T28" fmla="*/ 25 w 56"/>
              <a:gd name="T29" fmla="*/ 24 h 30"/>
              <a:gd name="T30" fmla="*/ 21 w 56"/>
              <a:gd name="T31" fmla="*/ 27 h 30"/>
              <a:gd name="T32" fmla="*/ 22 w 56"/>
              <a:gd name="T33" fmla="*/ 29 h 30"/>
              <a:gd name="T34" fmla="*/ 18 w 56"/>
              <a:gd name="T35" fmla="*/ 30 h 30"/>
              <a:gd name="T36" fmla="*/ 11 w 56"/>
              <a:gd name="T37" fmla="*/ 28 h 30"/>
              <a:gd name="T38" fmla="*/ 9 w 56"/>
              <a:gd name="T39" fmla="*/ 29 h 30"/>
              <a:gd name="T40" fmla="*/ 6 w 56"/>
              <a:gd name="T41" fmla="*/ 27 h 30"/>
              <a:gd name="T42" fmla="*/ 9 w 56"/>
              <a:gd name="T43" fmla="*/ 24 h 30"/>
              <a:gd name="T44" fmla="*/ 13 w 56"/>
              <a:gd name="T45" fmla="*/ 24 h 30"/>
              <a:gd name="T46" fmla="*/ 6 w 56"/>
              <a:gd name="T47" fmla="*/ 22 h 30"/>
              <a:gd name="T48" fmla="*/ 10 w 56"/>
              <a:gd name="T49" fmla="*/ 20 h 30"/>
              <a:gd name="T50" fmla="*/ 13 w 56"/>
              <a:gd name="T51" fmla="*/ 20 h 30"/>
              <a:gd name="T52" fmla="*/ 13 w 56"/>
              <a:gd name="T53" fmla="*/ 18 h 30"/>
              <a:gd name="T54" fmla="*/ 12 w 56"/>
              <a:gd name="T55" fmla="*/ 15 h 30"/>
              <a:gd name="T56" fmla="*/ 10 w 56"/>
              <a:gd name="T57" fmla="*/ 14 h 30"/>
              <a:gd name="T58" fmla="*/ 15 w 56"/>
              <a:gd name="T59" fmla="*/ 14 h 30"/>
              <a:gd name="T60" fmla="*/ 17 w 56"/>
              <a:gd name="T61" fmla="*/ 13 h 30"/>
              <a:gd name="T62" fmla="*/ 21 w 56"/>
              <a:gd name="T63" fmla="*/ 10 h 30"/>
              <a:gd name="T64" fmla="*/ 13 w 56"/>
              <a:gd name="T65" fmla="*/ 12 h 30"/>
              <a:gd name="T66" fmla="*/ 7 w 56"/>
              <a:gd name="T67" fmla="*/ 10 h 30"/>
              <a:gd name="T68" fmla="*/ 2 w 56"/>
              <a:gd name="T69" fmla="*/ 9 h 30"/>
              <a:gd name="T70" fmla="*/ 1 w 56"/>
              <a:gd name="T71" fmla="*/ 6 h 30"/>
              <a:gd name="T72" fmla="*/ 10 w 56"/>
              <a:gd name="T73" fmla="*/ 4 h 30"/>
              <a:gd name="T74" fmla="*/ 17 w 56"/>
              <a:gd name="T75" fmla="*/ 2 h 30"/>
              <a:gd name="T76" fmla="*/ 25 w 56"/>
              <a:gd name="T77" fmla="*/ 1 h 30"/>
              <a:gd name="T78" fmla="*/ 32 w 56"/>
              <a:gd name="T79" fmla="*/ 0 h 30"/>
              <a:gd name="T80" fmla="*/ 37 w 56"/>
              <a:gd name="T81" fmla="*/ 0 h 30"/>
              <a:gd name="T82" fmla="*/ 45 w 56"/>
              <a:gd name="T83" fmla="*/ 0 h 30"/>
              <a:gd name="T84" fmla="*/ 53 w 56"/>
              <a:gd name="T85"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30">
                <a:moveTo>
                  <a:pt x="53" y="1"/>
                </a:moveTo>
                <a:cubicBezTo>
                  <a:pt x="52" y="2"/>
                  <a:pt x="53" y="1"/>
                  <a:pt x="53" y="3"/>
                </a:cubicBezTo>
                <a:cubicBezTo>
                  <a:pt x="54" y="3"/>
                  <a:pt x="55" y="3"/>
                  <a:pt x="56" y="3"/>
                </a:cubicBezTo>
                <a:cubicBezTo>
                  <a:pt x="56" y="4"/>
                  <a:pt x="56" y="4"/>
                  <a:pt x="56" y="5"/>
                </a:cubicBezTo>
                <a:cubicBezTo>
                  <a:pt x="56" y="5"/>
                  <a:pt x="55" y="4"/>
                  <a:pt x="54" y="5"/>
                </a:cubicBezTo>
                <a:cubicBezTo>
                  <a:pt x="54" y="5"/>
                  <a:pt x="55" y="5"/>
                  <a:pt x="54" y="6"/>
                </a:cubicBezTo>
                <a:cubicBezTo>
                  <a:pt x="54" y="6"/>
                  <a:pt x="53" y="6"/>
                  <a:pt x="53" y="6"/>
                </a:cubicBezTo>
                <a:cubicBezTo>
                  <a:pt x="52" y="5"/>
                  <a:pt x="52" y="6"/>
                  <a:pt x="52" y="6"/>
                </a:cubicBezTo>
                <a:cubicBezTo>
                  <a:pt x="52" y="7"/>
                  <a:pt x="50" y="6"/>
                  <a:pt x="50" y="7"/>
                </a:cubicBezTo>
                <a:cubicBezTo>
                  <a:pt x="49" y="7"/>
                  <a:pt x="46" y="6"/>
                  <a:pt x="46" y="8"/>
                </a:cubicBezTo>
                <a:cubicBezTo>
                  <a:pt x="46" y="9"/>
                  <a:pt x="48" y="8"/>
                  <a:pt x="48" y="7"/>
                </a:cubicBezTo>
                <a:cubicBezTo>
                  <a:pt x="49" y="8"/>
                  <a:pt x="48" y="8"/>
                  <a:pt x="48" y="9"/>
                </a:cubicBezTo>
                <a:cubicBezTo>
                  <a:pt x="47" y="9"/>
                  <a:pt x="46" y="10"/>
                  <a:pt x="44" y="10"/>
                </a:cubicBezTo>
                <a:cubicBezTo>
                  <a:pt x="43" y="10"/>
                  <a:pt x="43" y="10"/>
                  <a:pt x="43" y="11"/>
                </a:cubicBezTo>
                <a:cubicBezTo>
                  <a:pt x="42" y="11"/>
                  <a:pt x="42" y="11"/>
                  <a:pt x="41" y="11"/>
                </a:cubicBezTo>
                <a:cubicBezTo>
                  <a:pt x="41" y="11"/>
                  <a:pt x="41" y="12"/>
                  <a:pt x="41" y="12"/>
                </a:cubicBezTo>
                <a:cubicBezTo>
                  <a:pt x="40" y="12"/>
                  <a:pt x="40" y="12"/>
                  <a:pt x="39" y="13"/>
                </a:cubicBezTo>
                <a:cubicBezTo>
                  <a:pt x="39" y="13"/>
                  <a:pt x="38" y="13"/>
                  <a:pt x="38" y="13"/>
                </a:cubicBezTo>
                <a:cubicBezTo>
                  <a:pt x="38" y="15"/>
                  <a:pt x="37" y="14"/>
                  <a:pt x="36" y="14"/>
                </a:cubicBezTo>
                <a:cubicBezTo>
                  <a:pt x="36" y="15"/>
                  <a:pt x="35" y="15"/>
                  <a:pt x="33" y="15"/>
                </a:cubicBezTo>
                <a:cubicBezTo>
                  <a:pt x="33" y="15"/>
                  <a:pt x="33" y="16"/>
                  <a:pt x="33" y="16"/>
                </a:cubicBezTo>
                <a:cubicBezTo>
                  <a:pt x="32" y="16"/>
                  <a:pt x="33" y="16"/>
                  <a:pt x="32" y="17"/>
                </a:cubicBezTo>
                <a:cubicBezTo>
                  <a:pt x="32" y="17"/>
                  <a:pt x="32" y="17"/>
                  <a:pt x="32" y="17"/>
                </a:cubicBezTo>
                <a:cubicBezTo>
                  <a:pt x="31" y="17"/>
                  <a:pt x="30" y="18"/>
                  <a:pt x="29" y="17"/>
                </a:cubicBezTo>
                <a:cubicBezTo>
                  <a:pt x="29" y="18"/>
                  <a:pt x="31" y="18"/>
                  <a:pt x="29" y="18"/>
                </a:cubicBezTo>
                <a:cubicBezTo>
                  <a:pt x="29" y="19"/>
                  <a:pt x="31" y="18"/>
                  <a:pt x="31" y="20"/>
                </a:cubicBezTo>
                <a:cubicBezTo>
                  <a:pt x="30" y="19"/>
                  <a:pt x="30" y="20"/>
                  <a:pt x="30" y="21"/>
                </a:cubicBezTo>
                <a:cubicBezTo>
                  <a:pt x="29" y="20"/>
                  <a:pt x="28" y="22"/>
                  <a:pt x="27" y="22"/>
                </a:cubicBezTo>
                <a:cubicBezTo>
                  <a:pt x="26" y="23"/>
                  <a:pt x="25" y="22"/>
                  <a:pt x="25" y="23"/>
                </a:cubicBezTo>
                <a:cubicBezTo>
                  <a:pt x="24" y="24"/>
                  <a:pt x="25" y="24"/>
                  <a:pt x="25" y="24"/>
                </a:cubicBezTo>
                <a:cubicBezTo>
                  <a:pt x="25" y="24"/>
                  <a:pt x="23" y="25"/>
                  <a:pt x="25" y="25"/>
                </a:cubicBezTo>
                <a:cubicBezTo>
                  <a:pt x="24" y="26"/>
                  <a:pt x="21" y="25"/>
                  <a:pt x="21" y="27"/>
                </a:cubicBezTo>
                <a:cubicBezTo>
                  <a:pt x="22" y="27"/>
                  <a:pt x="23" y="28"/>
                  <a:pt x="25" y="27"/>
                </a:cubicBezTo>
                <a:cubicBezTo>
                  <a:pt x="25" y="29"/>
                  <a:pt x="22" y="28"/>
                  <a:pt x="22" y="29"/>
                </a:cubicBezTo>
                <a:cubicBezTo>
                  <a:pt x="22" y="30"/>
                  <a:pt x="22" y="29"/>
                  <a:pt x="21" y="29"/>
                </a:cubicBezTo>
                <a:cubicBezTo>
                  <a:pt x="20" y="29"/>
                  <a:pt x="20" y="30"/>
                  <a:pt x="18" y="30"/>
                </a:cubicBezTo>
                <a:cubicBezTo>
                  <a:pt x="18" y="29"/>
                  <a:pt x="17" y="29"/>
                  <a:pt x="18" y="28"/>
                </a:cubicBezTo>
                <a:cubicBezTo>
                  <a:pt x="15" y="28"/>
                  <a:pt x="14" y="29"/>
                  <a:pt x="11" y="28"/>
                </a:cubicBezTo>
                <a:cubicBezTo>
                  <a:pt x="11" y="28"/>
                  <a:pt x="11" y="28"/>
                  <a:pt x="11" y="28"/>
                </a:cubicBezTo>
                <a:cubicBezTo>
                  <a:pt x="10" y="28"/>
                  <a:pt x="10" y="29"/>
                  <a:pt x="9" y="29"/>
                </a:cubicBezTo>
                <a:cubicBezTo>
                  <a:pt x="7" y="29"/>
                  <a:pt x="5" y="28"/>
                  <a:pt x="3" y="28"/>
                </a:cubicBezTo>
                <a:cubicBezTo>
                  <a:pt x="3" y="27"/>
                  <a:pt x="4" y="27"/>
                  <a:pt x="6" y="27"/>
                </a:cubicBezTo>
                <a:cubicBezTo>
                  <a:pt x="7" y="26"/>
                  <a:pt x="6" y="25"/>
                  <a:pt x="7" y="24"/>
                </a:cubicBezTo>
                <a:cubicBezTo>
                  <a:pt x="8" y="25"/>
                  <a:pt x="8" y="24"/>
                  <a:pt x="9" y="24"/>
                </a:cubicBezTo>
                <a:cubicBezTo>
                  <a:pt x="9" y="25"/>
                  <a:pt x="11" y="25"/>
                  <a:pt x="12" y="25"/>
                </a:cubicBezTo>
                <a:cubicBezTo>
                  <a:pt x="13" y="25"/>
                  <a:pt x="12" y="24"/>
                  <a:pt x="13" y="24"/>
                </a:cubicBezTo>
                <a:cubicBezTo>
                  <a:pt x="13" y="23"/>
                  <a:pt x="10" y="24"/>
                  <a:pt x="11" y="22"/>
                </a:cubicBezTo>
                <a:cubicBezTo>
                  <a:pt x="9" y="22"/>
                  <a:pt x="8" y="23"/>
                  <a:pt x="6" y="22"/>
                </a:cubicBezTo>
                <a:cubicBezTo>
                  <a:pt x="7" y="21"/>
                  <a:pt x="8" y="21"/>
                  <a:pt x="9" y="21"/>
                </a:cubicBezTo>
                <a:cubicBezTo>
                  <a:pt x="9" y="20"/>
                  <a:pt x="10" y="20"/>
                  <a:pt x="10" y="20"/>
                </a:cubicBezTo>
                <a:cubicBezTo>
                  <a:pt x="11" y="20"/>
                  <a:pt x="11" y="19"/>
                  <a:pt x="11" y="19"/>
                </a:cubicBezTo>
                <a:cubicBezTo>
                  <a:pt x="12" y="19"/>
                  <a:pt x="13" y="19"/>
                  <a:pt x="13" y="20"/>
                </a:cubicBezTo>
                <a:cubicBezTo>
                  <a:pt x="14" y="19"/>
                  <a:pt x="15" y="19"/>
                  <a:pt x="15" y="18"/>
                </a:cubicBezTo>
                <a:cubicBezTo>
                  <a:pt x="15" y="17"/>
                  <a:pt x="14" y="18"/>
                  <a:pt x="13" y="18"/>
                </a:cubicBezTo>
                <a:cubicBezTo>
                  <a:pt x="13" y="18"/>
                  <a:pt x="13" y="16"/>
                  <a:pt x="13" y="16"/>
                </a:cubicBezTo>
                <a:cubicBezTo>
                  <a:pt x="13" y="16"/>
                  <a:pt x="12" y="16"/>
                  <a:pt x="12" y="15"/>
                </a:cubicBezTo>
                <a:cubicBezTo>
                  <a:pt x="12" y="16"/>
                  <a:pt x="12" y="16"/>
                  <a:pt x="11" y="16"/>
                </a:cubicBezTo>
                <a:cubicBezTo>
                  <a:pt x="11" y="15"/>
                  <a:pt x="11" y="14"/>
                  <a:pt x="10" y="14"/>
                </a:cubicBezTo>
                <a:cubicBezTo>
                  <a:pt x="11" y="14"/>
                  <a:pt x="11" y="13"/>
                  <a:pt x="12" y="13"/>
                </a:cubicBezTo>
                <a:cubicBezTo>
                  <a:pt x="14" y="13"/>
                  <a:pt x="13" y="15"/>
                  <a:pt x="15" y="14"/>
                </a:cubicBezTo>
                <a:cubicBezTo>
                  <a:pt x="15" y="14"/>
                  <a:pt x="15" y="15"/>
                  <a:pt x="16" y="15"/>
                </a:cubicBezTo>
                <a:cubicBezTo>
                  <a:pt x="17" y="15"/>
                  <a:pt x="16" y="13"/>
                  <a:pt x="17" y="13"/>
                </a:cubicBezTo>
                <a:cubicBezTo>
                  <a:pt x="19" y="12"/>
                  <a:pt x="21" y="12"/>
                  <a:pt x="23" y="10"/>
                </a:cubicBezTo>
                <a:cubicBezTo>
                  <a:pt x="23" y="9"/>
                  <a:pt x="22" y="11"/>
                  <a:pt x="21" y="10"/>
                </a:cubicBezTo>
                <a:cubicBezTo>
                  <a:pt x="20" y="11"/>
                  <a:pt x="19" y="11"/>
                  <a:pt x="18" y="12"/>
                </a:cubicBezTo>
                <a:cubicBezTo>
                  <a:pt x="17" y="11"/>
                  <a:pt x="15" y="12"/>
                  <a:pt x="13" y="12"/>
                </a:cubicBezTo>
                <a:cubicBezTo>
                  <a:pt x="12" y="12"/>
                  <a:pt x="11" y="11"/>
                  <a:pt x="10" y="12"/>
                </a:cubicBezTo>
                <a:cubicBezTo>
                  <a:pt x="9" y="10"/>
                  <a:pt x="8" y="12"/>
                  <a:pt x="7" y="10"/>
                </a:cubicBezTo>
                <a:cubicBezTo>
                  <a:pt x="7" y="11"/>
                  <a:pt x="5" y="10"/>
                  <a:pt x="4" y="10"/>
                </a:cubicBezTo>
                <a:cubicBezTo>
                  <a:pt x="4" y="9"/>
                  <a:pt x="2" y="10"/>
                  <a:pt x="2" y="9"/>
                </a:cubicBezTo>
                <a:cubicBezTo>
                  <a:pt x="1" y="8"/>
                  <a:pt x="3" y="8"/>
                  <a:pt x="3" y="7"/>
                </a:cubicBezTo>
                <a:cubicBezTo>
                  <a:pt x="3" y="6"/>
                  <a:pt x="0" y="8"/>
                  <a:pt x="1" y="6"/>
                </a:cubicBezTo>
                <a:cubicBezTo>
                  <a:pt x="3" y="5"/>
                  <a:pt x="6" y="5"/>
                  <a:pt x="10" y="5"/>
                </a:cubicBezTo>
                <a:cubicBezTo>
                  <a:pt x="10" y="5"/>
                  <a:pt x="10" y="4"/>
                  <a:pt x="10" y="4"/>
                </a:cubicBezTo>
                <a:cubicBezTo>
                  <a:pt x="13" y="4"/>
                  <a:pt x="14" y="3"/>
                  <a:pt x="16" y="4"/>
                </a:cubicBezTo>
                <a:cubicBezTo>
                  <a:pt x="16" y="3"/>
                  <a:pt x="16" y="3"/>
                  <a:pt x="17" y="2"/>
                </a:cubicBezTo>
                <a:cubicBezTo>
                  <a:pt x="19" y="2"/>
                  <a:pt x="22" y="1"/>
                  <a:pt x="24" y="2"/>
                </a:cubicBezTo>
                <a:cubicBezTo>
                  <a:pt x="25" y="2"/>
                  <a:pt x="24" y="1"/>
                  <a:pt x="25" y="1"/>
                </a:cubicBezTo>
                <a:cubicBezTo>
                  <a:pt x="26" y="1"/>
                  <a:pt x="29" y="0"/>
                  <a:pt x="30" y="1"/>
                </a:cubicBezTo>
                <a:cubicBezTo>
                  <a:pt x="30" y="1"/>
                  <a:pt x="32" y="1"/>
                  <a:pt x="32" y="0"/>
                </a:cubicBezTo>
                <a:cubicBezTo>
                  <a:pt x="34" y="1"/>
                  <a:pt x="35" y="1"/>
                  <a:pt x="37" y="1"/>
                </a:cubicBezTo>
                <a:cubicBezTo>
                  <a:pt x="37" y="0"/>
                  <a:pt x="37" y="0"/>
                  <a:pt x="37" y="0"/>
                </a:cubicBezTo>
                <a:cubicBezTo>
                  <a:pt x="37" y="0"/>
                  <a:pt x="37" y="0"/>
                  <a:pt x="37" y="0"/>
                </a:cubicBezTo>
                <a:cubicBezTo>
                  <a:pt x="39" y="1"/>
                  <a:pt x="43" y="0"/>
                  <a:pt x="45" y="0"/>
                </a:cubicBezTo>
                <a:cubicBezTo>
                  <a:pt x="45" y="0"/>
                  <a:pt x="45" y="1"/>
                  <a:pt x="45" y="1"/>
                </a:cubicBezTo>
                <a:cubicBezTo>
                  <a:pt x="48" y="1"/>
                  <a:pt x="49" y="1"/>
                  <a:pt x="53"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7" name="Freeform 83"/>
          <p:cNvSpPr/>
          <p:nvPr/>
        </p:nvSpPr>
        <p:spPr bwMode="auto">
          <a:xfrm>
            <a:off x="4508169" y="1555750"/>
            <a:ext cx="168275" cy="60325"/>
          </a:xfrm>
          <a:custGeom>
            <a:avLst/>
            <a:gdLst>
              <a:gd name="T0" fmla="*/ 5 w 17"/>
              <a:gd name="T1" fmla="*/ 1 h 6"/>
              <a:gd name="T2" fmla="*/ 5 w 17"/>
              <a:gd name="T3" fmla="*/ 2 h 6"/>
              <a:gd name="T4" fmla="*/ 6 w 17"/>
              <a:gd name="T5" fmla="*/ 3 h 6"/>
              <a:gd name="T6" fmla="*/ 7 w 17"/>
              <a:gd name="T7" fmla="*/ 2 h 6"/>
              <a:gd name="T8" fmla="*/ 10 w 17"/>
              <a:gd name="T9" fmla="*/ 3 h 6"/>
              <a:gd name="T10" fmla="*/ 14 w 17"/>
              <a:gd name="T11" fmla="*/ 2 h 6"/>
              <a:gd name="T12" fmla="*/ 16 w 17"/>
              <a:gd name="T13" fmla="*/ 3 h 6"/>
              <a:gd name="T14" fmla="*/ 15 w 17"/>
              <a:gd name="T15" fmla="*/ 5 h 6"/>
              <a:gd name="T16" fmla="*/ 11 w 17"/>
              <a:gd name="T17" fmla="*/ 5 h 6"/>
              <a:gd name="T18" fmla="*/ 8 w 17"/>
              <a:gd name="T19" fmla="*/ 6 h 6"/>
              <a:gd name="T20" fmla="*/ 3 w 17"/>
              <a:gd name="T21" fmla="*/ 3 h 6"/>
              <a:gd name="T22" fmla="*/ 1 w 17"/>
              <a:gd name="T23" fmla="*/ 2 h 6"/>
              <a:gd name="T24" fmla="*/ 5 w 17"/>
              <a:gd name="T2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6">
                <a:moveTo>
                  <a:pt x="5" y="1"/>
                </a:moveTo>
                <a:cubicBezTo>
                  <a:pt x="5" y="1"/>
                  <a:pt x="5" y="2"/>
                  <a:pt x="5" y="2"/>
                </a:cubicBezTo>
                <a:cubicBezTo>
                  <a:pt x="4" y="3"/>
                  <a:pt x="7" y="1"/>
                  <a:pt x="6" y="3"/>
                </a:cubicBezTo>
                <a:cubicBezTo>
                  <a:pt x="7" y="3"/>
                  <a:pt x="7" y="2"/>
                  <a:pt x="7" y="2"/>
                </a:cubicBezTo>
                <a:cubicBezTo>
                  <a:pt x="9" y="3"/>
                  <a:pt x="10" y="1"/>
                  <a:pt x="10" y="3"/>
                </a:cubicBezTo>
                <a:cubicBezTo>
                  <a:pt x="11" y="3"/>
                  <a:pt x="13" y="2"/>
                  <a:pt x="14" y="2"/>
                </a:cubicBezTo>
                <a:cubicBezTo>
                  <a:pt x="14" y="3"/>
                  <a:pt x="16" y="2"/>
                  <a:pt x="16" y="3"/>
                </a:cubicBezTo>
                <a:cubicBezTo>
                  <a:pt x="17" y="4"/>
                  <a:pt x="13" y="4"/>
                  <a:pt x="15" y="5"/>
                </a:cubicBezTo>
                <a:cubicBezTo>
                  <a:pt x="14" y="6"/>
                  <a:pt x="12" y="5"/>
                  <a:pt x="11" y="5"/>
                </a:cubicBezTo>
                <a:cubicBezTo>
                  <a:pt x="10" y="5"/>
                  <a:pt x="9" y="6"/>
                  <a:pt x="8" y="6"/>
                </a:cubicBezTo>
                <a:cubicBezTo>
                  <a:pt x="6" y="5"/>
                  <a:pt x="4" y="5"/>
                  <a:pt x="3" y="3"/>
                </a:cubicBezTo>
                <a:cubicBezTo>
                  <a:pt x="3" y="3"/>
                  <a:pt x="1" y="4"/>
                  <a:pt x="1" y="2"/>
                </a:cubicBezTo>
                <a:cubicBezTo>
                  <a:pt x="0" y="0"/>
                  <a:pt x="4" y="3"/>
                  <a:pt x="5"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8" name="Freeform 84"/>
          <p:cNvSpPr/>
          <p:nvPr/>
        </p:nvSpPr>
        <p:spPr bwMode="auto">
          <a:xfrm>
            <a:off x="2028494" y="1635125"/>
            <a:ext cx="68263" cy="30162"/>
          </a:xfrm>
          <a:custGeom>
            <a:avLst/>
            <a:gdLst>
              <a:gd name="T0" fmla="*/ 7 w 7"/>
              <a:gd name="T1" fmla="*/ 1 h 3"/>
              <a:gd name="T2" fmla="*/ 4 w 7"/>
              <a:gd name="T3" fmla="*/ 2 h 3"/>
              <a:gd name="T4" fmla="*/ 3 w 7"/>
              <a:gd name="T5" fmla="*/ 2 h 3"/>
              <a:gd name="T6" fmla="*/ 1 w 7"/>
              <a:gd name="T7" fmla="*/ 2 h 3"/>
              <a:gd name="T8" fmla="*/ 2 w 7"/>
              <a:gd name="T9" fmla="*/ 1 h 3"/>
              <a:gd name="T10" fmla="*/ 7 w 7"/>
              <a:gd name="T11" fmla="*/ 1 h 3"/>
            </a:gdLst>
            <a:ahLst/>
            <a:cxnLst>
              <a:cxn ang="0">
                <a:pos x="T0" y="T1"/>
              </a:cxn>
              <a:cxn ang="0">
                <a:pos x="T2" y="T3"/>
              </a:cxn>
              <a:cxn ang="0">
                <a:pos x="T4" y="T5"/>
              </a:cxn>
              <a:cxn ang="0">
                <a:pos x="T6" y="T7"/>
              </a:cxn>
              <a:cxn ang="0">
                <a:pos x="T8" y="T9"/>
              </a:cxn>
              <a:cxn ang="0">
                <a:pos x="T10" y="T11"/>
              </a:cxn>
            </a:cxnLst>
            <a:rect l="0" t="0" r="r" b="b"/>
            <a:pathLst>
              <a:path w="7" h="3">
                <a:moveTo>
                  <a:pt x="7" y="1"/>
                </a:moveTo>
                <a:cubicBezTo>
                  <a:pt x="7" y="2"/>
                  <a:pt x="5" y="2"/>
                  <a:pt x="4" y="2"/>
                </a:cubicBezTo>
                <a:cubicBezTo>
                  <a:pt x="4" y="2"/>
                  <a:pt x="4" y="2"/>
                  <a:pt x="3" y="2"/>
                </a:cubicBezTo>
                <a:cubicBezTo>
                  <a:pt x="2" y="2"/>
                  <a:pt x="1" y="2"/>
                  <a:pt x="1" y="2"/>
                </a:cubicBezTo>
                <a:cubicBezTo>
                  <a:pt x="0" y="3"/>
                  <a:pt x="2" y="1"/>
                  <a:pt x="2" y="1"/>
                </a:cubicBezTo>
                <a:cubicBezTo>
                  <a:pt x="3" y="2"/>
                  <a:pt x="5" y="0"/>
                  <a:pt x="7"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29" name="Freeform 85"/>
          <p:cNvSpPr/>
          <p:nvPr/>
        </p:nvSpPr>
        <p:spPr bwMode="auto">
          <a:xfrm>
            <a:off x="2314244" y="1635125"/>
            <a:ext cx="69850" cy="50800"/>
          </a:xfrm>
          <a:custGeom>
            <a:avLst/>
            <a:gdLst>
              <a:gd name="T0" fmla="*/ 4 w 7"/>
              <a:gd name="T1" fmla="*/ 1 h 5"/>
              <a:gd name="T2" fmla="*/ 3 w 7"/>
              <a:gd name="T3" fmla="*/ 1 h 5"/>
              <a:gd name="T4" fmla="*/ 5 w 7"/>
              <a:gd name="T5" fmla="*/ 2 h 5"/>
              <a:gd name="T6" fmla="*/ 6 w 7"/>
              <a:gd name="T7" fmla="*/ 2 h 5"/>
              <a:gd name="T8" fmla="*/ 3 w 7"/>
              <a:gd name="T9" fmla="*/ 5 h 5"/>
              <a:gd name="T10" fmla="*/ 0 w 7"/>
              <a:gd name="T11" fmla="*/ 1 h 5"/>
              <a:gd name="T12" fmla="*/ 4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4" y="1"/>
                </a:moveTo>
                <a:cubicBezTo>
                  <a:pt x="4" y="1"/>
                  <a:pt x="3" y="1"/>
                  <a:pt x="3" y="1"/>
                </a:cubicBezTo>
                <a:cubicBezTo>
                  <a:pt x="3" y="2"/>
                  <a:pt x="6" y="0"/>
                  <a:pt x="5" y="2"/>
                </a:cubicBezTo>
                <a:cubicBezTo>
                  <a:pt x="6" y="2"/>
                  <a:pt x="6" y="2"/>
                  <a:pt x="6" y="2"/>
                </a:cubicBezTo>
                <a:cubicBezTo>
                  <a:pt x="7" y="3"/>
                  <a:pt x="3" y="4"/>
                  <a:pt x="3" y="5"/>
                </a:cubicBezTo>
                <a:cubicBezTo>
                  <a:pt x="2" y="4"/>
                  <a:pt x="2" y="2"/>
                  <a:pt x="0" y="1"/>
                </a:cubicBezTo>
                <a:cubicBezTo>
                  <a:pt x="1" y="1"/>
                  <a:pt x="3" y="1"/>
                  <a:pt x="4"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30" name="Freeform 86"/>
          <p:cNvSpPr>
            <a:spLocks noEditPoints="1"/>
          </p:cNvSpPr>
          <p:nvPr/>
        </p:nvSpPr>
        <p:spPr bwMode="auto">
          <a:xfrm>
            <a:off x="3827132" y="1685925"/>
            <a:ext cx="3903663" cy="2571749"/>
          </a:xfrm>
          <a:custGeom>
            <a:avLst/>
            <a:gdLst>
              <a:gd name="T0" fmla="*/ 235 w 395"/>
              <a:gd name="T1" fmla="*/ 18 h 259"/>
              <a:gd name="T2" fmla="*/ 277 w 395"/>
              <a:gd name="T3" fmla="*/ 18 h 259"/>
              <a:gd name="T4" fmla="*/ 313 w 395"/>
              <a:gd name="T5" fmla="*/ 22 h 259"/>
              <a:gd name="T6" fmla="*/ 359 w 395"/>
              <a:gd name="T7" fmla="*/ 29 h 259"/>
              <a:gd name="T8" fmla="*/ 395 w 395"/>
              <a:gd name="T9" fmla="*/ 41 h 259"/>
              <a:gd name="T10" fmla="*/ 372 w 395"/>
              <a:gd name="T11" fmla="*/ 46 h 259"/>
              <a:gd name="T12" fmla="*/ 342 w 395"/>
              <a:gd name="T13" fmla="*/ 69 h 259"/>
              <a:gd name="T14" fmla="*/ 331 w 395"/>
              <a:gd name="T15" fmla="*/ 76 h 259"/>
              <a:gd name="T16" fmla="*/ 346 w 395"/>
              <a:gd name="T17" fmla="*/ 52 h 259"/>
              <a:gd name="T18" fmla="*/ 313 w 395"/>
              <a:gd name="T19" fmla="*/ 62 h 259"/>
              <a:gd name="T20" fmla="*/ 302 w 395"/>
              <a:gd name="T21" fmla="*/ 79 h 259"/>
              <a:gd name="T22" fmla="*/ 283 w 395"/>
              <a:gd name="T23" fmla="*/ 104 h 259"/>
              <a:gd name="T24" fmla="*/ 271 w 395"/>
              <a:gd name="T25" fmla="*/ 110 h 259"/>
              <a:gd name="T26" fmla="*/ 266 w 395"/>
              <a:gd name="T27" fmla="*/ 116 h 259"/>
              <a:gd name="T28" fmla="*/ 249 w 395"/>
              <a:gd name="T29" fmla="*/ 147 h 259"/>
              <a:gd name="T30" fmla="*/ 240 w 395"/>
              <a:gd name="T31" fmla="*/ 169 h 259"/>
              <a:gd name="T32" fmla="*/ 224 w 395"/>
              <a:gd name="T33" fmla="*/ 172 h 259"/>
              <a:gd name="T34" fmla="*/ 221 w 395"/>
              <a:gd name="T35" fmla="*/ 173 h 259"/>
              <a:gd name="T36" fmla="*/ 213 w 395"/>
              <a:gd name="T37" fmla="*/ 151 h 259"/>
              <a:gd name="T38" fmla="*/ 186 w 395"/>
              <a:gd name="T39" fmla="*/ 165 h 259"/>
              <a:gd name="T40" fmla="*/ 167 w 395"/>
              <a:gd name="T41" fmla="*/ 145 h 259"/>
              <a:gd name="T42" fmla="*/ 131 w 395"/>
              <a:gd name="T43" fmla="*/ 140 h 259"/>
              <a:gd name="T44" fmla="*/ 140 w 395"/>
              <a:gd name="T45" fmla="*/ 155 h 259"/>
              <a:gd name="T46" fmla="*/ 114 w 395"/>
              <a:gd name="T47" fmla="*/ 156 h 259"/>
              <a:gd name="T48" fmla="*/ 98 w 395"/>
              <a:gd name="T49" fmla="*/ 137 h 259"/>
              <a:gd name="T50" fmla="*/ 110 w 395"/>
              <a:gd name="T51" fmla="*/ 162 h 259"/>
              <a:gd name="T52" fmla="*/ 118 w 395"/>
              <a:gd name="T53" fmla="*/ 188 h 259"/>
              <a:gd name="T54" fmla="*/ 103 w 395"/>
              <a:gd name="T55" fmla="*/ 225 h 259"/>
              <a:gd name="T56" fmla="*/ 89 w 395"/>
              <a:gd name="T57" fmla="*/ 254 h 259"/>
              <a:gd name="T58" fmla="*/ 60 w 395"/>
              <a:gd name="T59" fmla="*/ 232 h 259"/>
              <a:gd name="T60" fmla="*/ 56 w 395"/>
              <a:gd name="T61" fmla="*/ 198 h 259"/>
              <a:gd name="T62" fmla="*/ 12 w 395"/>
              <a:gd name="T63" fmla="*/ 176 h 259"/>
              <a:gd name="T64" fmla="*/ 2 w 395"/>
              <a:gd name="T65" fmla="*/ 148 h 259"/>
              <a:gd name="T66" fmla="*/ 41 w 395"/>
              <a:gd name="T67" fmla="*/ 117 h 259"/>
              <a:gd name="T68" fmla="*/ 66 w 395"/>
              <a:gd name="T69" fmla="*/ 129 h 259"/>
              <a:gd name="T70" fmla="*/ 95 w 395"/>
              <a:gd name="T71" fmla="*/ 129 h 259"/>
              <a:gd name="T72" fmla="*/ 78 w 395"/>
              <a:gd name="T73" fmla="*/ 109 h 259"/>
              <a:gd name="T74" fmla="*/ 64 w 395"/>
              <a:gd name="T75" fmla="*/ 101 h 259"/>
              <a:gd name="T76" fmla="*/ 65 w 395"/>
              <a:gd name="T77" fmla="*/ 108 h 259"/>
              <a:gd name="T78" fmla="*/ 40 w 395"/>
              <a:gd name="T79" fmla="*/ 102 h 259"/>
              <a:gd name="T80" fmla="*/ 29 w 395"/>
              <a:gd name="T81" fmla="*/ 102 h 259"/>
              <a:gd name="T82" fmla="*/ 40 w 395"/>
              <a:gd name="T83" fmla="*/ 83 h 259"/>
              <a:gd name="T84" fmla="*/ 54 w 395"/>
              <a:gd name="T85" fmla="*/ 73 h 259"/>
              <a:gd name="T86" fmla="*/ 80 w 395"/>
              <a:gd name="T87" fmla="*/ 62 h 259"/>
              <a:gd name="T88" fmla="*/ 79 w 395"/>
              <a:gd name="T89" fmla="*/ 50 h 259"/>
              <a:gd name="T90" fmla="*/ 70 w 395"/>
              <a:gd name="T91" fmla="*/ 60 h 259"/>
              <a:gd name="T92" fmla="*/ 46 w 395"/>
              <a:gd name="T93" fmla="*/ 63 h 259"/>
              <a:gd name="T94" fmla="*/ 57 w 395"/>
              <a:gd name="T95" fmla="*/ 42 h 259"/>
              <a:gd name="T96" fmla="*/ 89 w 395"/>
              <a:gd name="T97" fmla="*/ 27 h 259"/>
              <a:gd name="T98" fmla="*/ 100 w 395"/>
              <a:gd name="T99" fmla="*/ 39 h 259"/>
              <a:gd name="T100" fmla="*/ 118 w 395"/>
              <a:gd name="T101" fmla="*/ 34 h 259"/>
              <a:gd name="T102" fmla="*/ 150 w 395"/>
              <a:gd name="T103" fmla="*/ 32 h 259"/>
              <a:gd name="T104" fmla="*/ 166 w 395"/>
              <a:gd name="T105" fmla="*/ 21 h 259"/>
              <a:gd name="T106" fmla="*/ 177 w 395"/>
              <a:gd name="T107" fmla="*/ 33 h 259"/>
              <a:gd name="T108" fmla="*/ 184 w 395"/>
              <a:gd name="T109" fmla="*/ 21 h 259"/>
              <a:gd name="T110" fmla="*/ 223 w 395"/>
              <a:gd name="T111" fmla="*/ 5 h 259"/>
              <a:gd name="T112" fmla="*/ 94 w 395"/>
              <a:gd name="T113" fmla="*/ 94 h 259"/>
              <a:gd name="T114" fmla="*/ 113 w 395"/>
              <a:gd name="T115" fmla="*/ 107 h 259"/>
              <a:gd name="T116" fmla="*/ 133 w 395"/>
              <a:gd name="T117" fmla="*/ 103 h 259"/>
              <a:gd name="T118" fmla="*/ 127 w 395"/>
              <a:gd name="T119" fmla="*/ 113 h 259"/>
              <a:gd name="T120" fmla="*/ 94 w 395"/>
              <a:gd name="T121" fmla="*/ 19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5" h="259">
                <a:moveTo>
                  <a:pt x="238" y="3"/>
                </a:moveTo>
                <a:cubicBezTo>
                  <a:pt x="238" y="4"/>
                  <a:pt x="239" y="3"/>
                  <a:pt x="239" y="3"/>
                </a:cubicBezTo>
                <a:cubicBezTo>
                  <a:pt x="239" y="4"/>
                  <a:pt x="238" y="4"/>
                  <a:pt x="238" y="4"/>
                </a:cubicBezTo>
                <a:cubicBezTo>
                  <a:pt x="240" y="6"/>
                  <a:pt x="242" y="3"/>
                  <a:pt x="245" y="4"/>
                </a:cubicBezTo>
                <a:cubicBezTo>
                  <a:pt x="246" y="5"/>
                  <a:pt x="247" y="6"/>
                  <a:pt x="249" y="6"/>
                </a:cubicBezTo>
                <a:cubicBezTo>
                  <a:pt x="249" y="7"/>
                  <a:pt x="249" y="8"/>
                  <a:pt x="249" y="8"/>
                </a:cubicBezTo>
                <a:cubicBezTo>
                  <a:pt x="249" y="9"/>
                  <a:pt x="250" y="9"/>
                  <a:pt x="250" y="10"/>
                </a:cubicBezTo>
                <a:cubicBezTo>
                  <a:pt x="249" y="9"/>
                  <a:pt x="249" y="10"/>
                  <a:pt x="249" y="11"/>
                </a:cubicBezTo>
                <a:cubicBezTo>
                  <a:pt x="249" y="11"/>
                  <a:pt x="248" y="10"/>
                  <a:pt x="247" y="10"/>
                </a:cubicBezTo>
                <a:cubicBezTo>
                  <a:pt x="247" y="11"/>
                  <a:pt x="247" y="11"/>
                  <a:pt x="247" y="11"/>
                </a:cubicBezTo>
                <a:cubicBezTo>
                  <a:pt x="247" y="12"/>
                  <a:pt x="246" y="11"/>
                  <a:pt x="246" y="11"/>
                </a:cubicBezTo>
                <a:cubicBezTo>
                  <a:pt x="245" y="11"/>
                  <a:pt x="244" y="12"/>
                  <a:pt x="243" y="11"/>
                </a:cubicBezTo>
                <a:cubicBezTo>
                  <a:pt x="242" y="11"/>
                  <a:pt x="243" y="12"/>
                  <a:pt x="243" y="12"/>
                </a:cubicBezTo>
                <a:cubicBezTo>
                  <a:pt x="242" y="12"/>
                  <a:pt x="242" y="12"/>
                  <a:pt x="242" y="12"/>
                </a:cubicBezTo>
                <a:cubicBezTo>
                  <a:pt x="241" y="13"/>
                  <a:pt x="242" y="13"/>
                  <a:pt x="242" y="14"/>
                </a:cubicBezTo>
                <a:cubicBezTo>
                  <a:pt x="241" y="13"/>
                  <a:pt x="239" y="14"/>
                  <a:pt x="240" y="15"/>
                </a:cubicBezTo>
                <a:cubicBezTo>
                  <a:pt x="239" y="16"/>
                  <a:pt x="238" y="15"/>
                  <a:pt x="236" y="16"/>
                </a:cubicBezTo>
                <a:cubicBezTo>
                  <a:pt x="236" y="16"/>
                  <a:pt x="235" y="17"/>
                  <a:pt x="234" y="17"/>
                </a:cubicBezTo>
                <a:cubicBezTo>
                  <a:pt x="234" y="18"/>
                  <a:pt x="234" y="18"/>
                  <a:pt x="234" y="18"/>
                </a:cubicBezTo>
                <a:cubicBezTo>
                  <a:pt x="234" y="19"/>
                  <a:pt x="234" y="18"/>
                  <a:pt x="235" y="18"/>
                </a:cubicBezTo>
                <a:cubicBezTo>
                  <a:pt x="236" y="18"/>
                  <a:pt x="236" y="17"/>
                  <a:pt x="237" y="17"/>
                </a:cubicBezTo>
                <a:cubicBezTo>
                  <a:pt x="238" y="17"/>
                  <a:pt x="238" y="18"/>
                  <a:pt x="239" y="17"/>
                </a:cubicBezTo>
                <a:cubicBezTo>
                  <a:pt x="239" y="17"/>
                  <a:pt x="239" y="17"/>
                  <a:pt x="240" y="17"/>
                </a:cubicBezTo>
                <a:cubicBezTo>
                  <a:pt x="241" y="16"/>
                  <a:pt x="242" y="17"/>
                  <a:pt x="243" y="16"/>
                </a:cubicBezTo>
                <a:cubicBezTo>
                  <a:pt x="244" y="16"/>
                  <a:pt x="243" y="15"/>
                  <a:pt x="243" y="15"/>
                </a:cubicBezTo>
                <a:cubicBezTo>
                  <a:pt x="244" y="15"/>
                  <a:pt x="244" y="15"/>
                  <a:pt x="244" y="15"/>
                </a:cubicBezTo>
                <a:cubicBezTo>
                  <a:pt x="245" y="15"/>
                  <a:pt x="245" y="14"/>
                  <a:pt x="245" y="14"/>
                </a:cubicBezTo>
                <a:cubicBezTo>
                  <a:pt x="245" y="14"/>
                  <a:pt x="246" y="15"/>
                  <a:pt x="247" y="15"/>
                </a:cubicBezTo>
                <a:cubicBezTo>
                  <a:pt x="248" y="15"/>
                  <a:pt x="248" y="14"/>
                  <a:pt x="249" y="14"/>
                </a:cubicBezTo>
                <a:cubicBezTo>
                  <a:pt x="249" y="15"/>
                  <a:pt x="249" y="15"/>
                  <a:pt x="249" y="16"/>
                </a:cubicBezTo>
                <a:cubicBezTo>
                  <a:pt x="250" y="15"/>
                  <a:pt x="250" y="15"/>
                  <a:pt x="250" y="16"/>
                </a:cubicBezTo>
                <a:cubicBezTo>
                  <a:pt x="252" y="16"/>
                  <a:pt x="257" y="16"/>
                  <a:pt x="260" y="16"/>
                </a:cubicBezTo>
                <a:cubicBezTo>
                  <a:pt x="260" y="18"/>
                  <a:pt x="263" y="17"/>
                  <a:pt x="263" y="19"/>
                </a:cubicBezTo>
                <a:cubicBezTo>
                  <a:pt x="263" y="18"/>
                  <a:pt x="264" y="19"/>
                  <a:pt x="265" y="19"/>
                </a:cubicBezTo>
                <a:cubicBezTo>
                  <a:pt x="266" y="19"/>
                  <a:pt x="268" y="18"/>
                  <a:pt x="269" y="19"/>
                </a:cubicBezTo>
                <a:cubicBezTo>
                  <a:pt x="270" y="19"/>
                  <a:pt x="269" y="17"/>
                  <a:pt x="270" y="17"/>
                </a:cubicBezTo>
                <a:cubicBezTo>
                  <a:pt x="271" y="17"/>
                  <a:pt x="273" y="17"/>
                  <a:pt x="274" y="17"/>
                </a:cubicBezTo>
                <a:cubicBezTo>
                  <a:pt x="274" y="17"/>
                  <a:pt x="274" y="17"/>
                  <a:pt x="274" y="17"/>
                </a:cubicBezTo>
                <a:cubicBezTo>
                  <a:pt x="275" y="18"/>
                  <a:pt x="276" y="17"/>
                  <a:pt x="277" y="17"/>
                </a:cubicBezTo>
                <a:cubicBezTo>
                  <a:pt x="277" y="18"/>
                  <a:pt x="277" y="18"/>
                  <a:pt x="277" y="18"/>
                </a:cubicBezTo>
                <a:cubicBezTo>
                  <a:pt x="278" y="19"/>
                  <a:pt x="279" y="18"/>
                  <a:pt x="279" y="19"/>
                </a:cubicBezTo>
                <a:cubicBezTo>
                  <a:pt x="279" y="20"/>
                  <a:pt x="279" y="21"/>
                  <a:pt x="278" y="21"/>
                </a:cubicBezTo>
                <a:cubicBezTo>
                  <a:pt x="278" y="22"/>
                  <a:pt x="279" y="22"/>
                  <a:pt x="280" y="22"/>
                </a:cubicBezTo>
                <a:cubicBezTo>
                  <a:pt x="280" y="24"/>
                  <a:pt x="282" y="25"/>
                  <a:pt x="283" y="26"/>
                </a:cubicBezTo>
                <a:cubicBezTo>
                  <a:pt x="284" y="25"/>
                  <a:pt x="284" y="25"/>
                  <a:pt x="285" y="24"/>
                </a:cubicBezTo>
                <a:cubicBezTo>
                  <a:pt x="285" y="24"/>
                  <a:pt x="285" y="23"/>
                  <a:pt x="285" y="23"/>
                </a:cubicBezTo>
                <a:cubicBezTo>
                  <a:pt x="286" y="23"/>
                  <a:pt x="287" y="23"/>
                  <a:pt x="286" y="23"/>
                </a:cubicBezTo>
                <a:cubicBezTo>
                  <a:pt x="288" y="22"/>
                  <a:pt x="287" y="24"/>
                  <a:pt x="288" y="24"/>
                </a:cubicBezTo>
                <a:cubicBezTo>
                  <a:pt x="289" y="24"/>
                  <a:pt x="290" y="24"/>
                  <a:pt x="291" y="24"/>
                </a:cubicBezTo>
                <a:cubicBezTo>
                  <a:pt x="292" y="24"/>
                  <a:pt x="293" y="24"/>
                  <a:pt x="292" y="23"/>
                </a:cubicBezTo>
                <a:cubicBezTo>
                  <a:pt x="294" y="23"/>
                  <a:pt x="298" y="22"/>
                  <a:pt x="298" y="24"/>
                </a:cubicBezTo>
                <a:cubicBezTo>
                  <a:pt x="299" y="24"/>
                  <a:pt x="299" y="22"/>
                  <a:pt x="300" y="23"/>
                </a:cubicBezTo>
                <a:cubicBezTo>
                  <a:pt x="300" y="22"/>
                  <a:pt x="300" y="22"/>
                  <a:pt x="299" y="22"/>
                </a:cubicBezTo>
                <a:cubicBezTo>
                  <a:pt x="300" y="22"/>
                  <a:pt x="300" y="21"/>
                  <a:pt x="300" y="21"/>
                </a:cubicBezTo>
                <a:cubicBezTo>
                  <a:pt x="302" y="21"/>
                  <a:pt x="301" y="19"/>
                  <a:pt x="303" y="20"/>
                </a:cubicBezTo>
                <a:cubicBezTo>
                  <a:pt x="304" y="20"/>
                  <a:pt x="303" y="19"/>
                  <a:pt x="303" y="19"/>
                </a:cubicBezTo>
                <a:cubicBezTo>
                  <a:pt x="304" y="18"/>
                  <a:pt x="305" y="19"/>
                  <a:pt x="307" y="19"/>
                </a:cubicBezTo>
                <a:cubicBezTo>
                  <a:pt x="307" y="21"/>
                  <a:pt x="309" y="18"/>
                  <a:pt x="309" y="20"/>
                </a:cubicBezTo>
                <a:cubicBezTo>
                  <a:pt x="311" y="21"/>
                  <a:pt x="312" y="20"/>
                  <a:pt x="314" y="20"/>
                </a:cubicBezTo>
                <a:cubicBezTo>
                  <a:pt x="314" y="21"/>
                  <a:pt x="312" y="20"/>
                  <a:pt x="313" y="22"/>
                </a:cubicBezTo>
                <a:cubicBezTo>
                  <a:pt x="313" y="23"/>
                  <a:pt x="314" y="22"/>
                  <a:pt x="315" y="22"/>
                </a:cubicBezTo>
                <a:cubicBezTo>
                  <a:pt x="317" y="22"/>
                  <a:pt x="319" y="22"/>
                  <a:pt x="320" y="22"/>
                </a:cubicBezTo>
                <a:cubicBezTo>
                  <a:pt x="320" y="23"/>
                  <a:pt x="323" y="23"/>
                  <a:pt x="323" y="25"/>
                </a:cubicBezTo>
                <a:cubicBezTo>
                  <a:pt x="324" y="25"/>
                  <a:pt x="325" y="25"/>
                  <a:pt x="326" y="25"/>
                </a:cubicBezTo>
                <a:cubicBezTo>
                  <a:pt x="329" y="26"/>
                  <a:pt x="332" y="25"/>
                  <a:pt x="334" y="25"/>
                </a:cubicBezTo>
                <a:cubicBezTo>
                  <a:pt x="336" y="26"/>
                  <a:pt x="337" y="27"/>
                  <a:pt x="338" y="26"/>
                </a:cubicBezTo>
                <a:cubicBezTo>
                  <a:pt x="338" y="27"/>
                  <a:pt x="338" y="27"/>
                  <a:pt x="339" y="27"/>
                </a:cubicBezTo>
                <a:cubicBezTo>
                  <a:pt x="339" y="28"/>
                  <a:pt x="339" y="29"/>
                  <a:pt x="339" y="29"/>
                </a:cubicBezTo>
                <a:cubicBezTo>
                  <a:pt x="339" y="30"/>
                  <a:pt x="340" y="29"/>
                  <a:pt x="341" y="30"/>
                </a:cubicBezTo>
                <a:cubicBezTo>
                  <a:pt x="341" y="30"/>
                  <a:pt x="341" y="29"/>
                  <a:pt x="341" y="30"/>
                </a:cubicBezTo>
                <a:cubicBezTo>
                  <a:pt x="342" y="30"/>
                  <a:pt x="342" y="30"/>
                  <a:pt x="342" y="30"/>
                </a:cubicBezTo>
                <a:cubicBezTo>
                  <a:pt x="343" y="30"/>
                  <a:pt x="348" y="31"/>
                  <a:pt x="348" y="30"/>
                </a:cubicBezTo>
                <a:cubicBezTo>
                  <a:pt x="348" y="30"/>
                  <a:pt x="348" y="30"/>
                  <a:pt x="348" y="30"/>
                </a:cubicBezTo>
                <a:cubicBezTo>
                  <a:pt x="348" y="30"/>
                  <a:pt x="349" y="30"/>
                  <a:pt x="349" y="30"/>
                </a:cubicBezTo>
                <a:cubicBezTo>
                  <a:pt x="350" y="30"/>
                  <a:pt x="351" y="29"/>
                  <a:pt x="351" y="30"/>
                </a:cubicBezTo>
                <a:cubicBezTo>
                  <a:pt x="352" y="29"/>
                  <a:pt x="353" y="29"/>
                  <a:pt x="355" y="29"/>
                </a:cubicBezTo>
                <a:cubicBezTo>
                  <a:pt x="354" y="30"/>
                  <a:pt x="355" y="31"/>
                  <a:pt x="355" y="32"/>
                </a:cubicBezTo>
                <a:cubicBezTo>
                  <a:pt x="357" y="32"/>
                  <a:pt x="358" y="33"/>
                  <a:pt x="359" y="32"/>
                </a:cubicBezTo>
                <a:cubicBezTo>
                  <a:pt x="359" y="31"/>
                  <a:pt x="359" y="31"/>
                  <a:pt x="358" y="31"/>
                </a:cubicBezTo>
                <a:cubicBezTo>
                  <a:pt x="359" y="31"/>
                  <a:pt x="359" y="30"/>
                  <a:pt x="359" y="29"/>
                </a:cubicBezTo>
                <a:cubicBezTo>
                  <a:pt x="360" y="28"/>
                  <a:pt x="363" y="29"/>
                  <a:pt x="363" y="30"/>
                </a:cubicBezTo>
                <a:cubicBezTo>
                  <a:pt x="365" y="30"/>
                  <a:pt x="367" y="29"/>
                  <a:pt x="369" y="30"/>
                </a:cubicBezTo>
                <a:cubicBezTo>
                  <a:pt x="370" y="30"/>
                  <a:pt x="372" y="31"/>
                  <a:pt x="372" y="30"/>
                </a:cubicBezTo>
                <a:cubicBezTo>
                  <a:pt x="373" y="30"/>
                  <a:pt x="373" y="31"/>
                  <a:pt x="374" y="31"/>
                </a:cubicBezTo>
                <a:cubicBezTo>
                  <a:pt x="375" y="31"/>
                  <a:pt x="375" y="32"/>
                  <a:pt x="375" y="32"/>
                </a:cubicBezTo>
                <a:cubicBezTo>
                  <a:pt x="375" y="32"/>
                  <a:pt x="376" y="32"/>
                  <a:pt x="376" y="31"/>
                </a:cubicBezTo>
                <a:cubicBezTo>
                  <a:pt x="376" y="32"/>
                  <a:pt x="376" y="32"/>
                  <a:pt x="376" y="32"/>
                </a:cubicBezTo>
                <a:cubicBezTo>
                  <a:pt x="376" y="33"/>
                  <a:pt x="377" y="32"/>
                  <a:pt x="377" y="32"/>
                </a:cubicBezTo>
                <a:cubicBezTo>
                  <a:pt x="377" y="33"/>
                  <a:pt x="378" y="33"/>
                  <a:pt x="379" y="33"/>
                </a:cubicBezTo>
                <a:cubicBezTo>
                  <a:pt x="380" y="34"/>
                  <a:pt x="381" y="34"/>
                  <a:pt x="382" y="34"/>
                </a:cubicBezTo>
                <a:cubicBezTo>
                  <a:pt x="382" y="34"/>
                  <a:pt x="382" y="35"/>
                  <a:pt x="383" y="35"/>
                </a:cubicBezTo>
                <a:cubicBezTo>
                  <a:pt x="383" y="35"/>
                  <a:pt x="383" y="35"/>
                  <a:pt x="383" y="35"/>
                </a:cubicBezTo>
                <a:cubicBezTo>
                  <a:pt x="384" y="35"/>
                  <a:pt x="383" y="36"/>
                  <a:pt x="383" y="36"/>
                </a:cubicBezTo>
                <a:cubicBezTo>
                  <a:pt x="384" y="36"/>
                  <a:pt x="384" y="36"/>
                  <a:pt x="384" y="36"/>
                </a:cubicBezTo>
                <a:cubicBezTo>
                  <a:pt x="385" y="37"/>
                  <a:pt x="384" y="38"/>
                  <a:pt x="386" y="38"/>
                </a:cubicBezTo>
                <a:cubicBezTo>
                  <a:pt x="386" y="39"/>
                  <a:pt x="386" y="40"/>
                  <a:pt x="386" y="41"/>
                </a:cubicBezTo>
                <a:cubicBezTo>
                  <a:pt x="387" y="41"/>
                  <a:pt x="389" y="40"/>
                  <a:pt x="389" y="39"/>
                </a:cubicBezTo>
                <a:cubicBezTo>
                  <a:pt x="390" y="40"/>
                  <a:pt x="392" y="39"/>
                  <a:pt x="393" y="40"/>
                </a:cubicBezTo>
                <a:cubicBezTo>
                  <a:pt x="393" y="40"/>
                  <a:pt x="393" y="41"/>
                  <a:pt x="393" y="41"/>
                </a:cubicBezTo>
                <a:cubicBezTo>
                  <a:pt x="393" y="41"/>
                  <a:pt x="394" y="41"/>
                  <a:pt x="395" y="41"/>
                </a:cubicBezTo>
                <a:cubicBezTo>
                  <a:pt x="394" y="41"/>
                  <a:pt x="394" y="41"/>
                  <a:pt x="394" y="42"/>
                </a:cubicBezTo>
                <a:cubicBezTo>
                  <a:pt x="393" y="42"/>
                  <a:pt x="393" y="42"/>
                  <a:pt x="392" y="42"/>
                </a:cubicBezTo>
                <a:cubicBezTo>
                  <a:pt x="392" y="42"/>
                  <a:pt x="392" y="43"/>
                  <a:pt x="391" y="43"/>
                </a:cubicBezTo>
                <a:cubicBezTo>
                  <a:pt x="391" y="43"/>
                  <a:pt x="392" y="43"/>
                  <a:pt x="392" y="45"/>
                </a:cubicBezTo>
                <a:cubicBezTo>
                  <a:pt x="390" y="43"/>
                  <a:pt x="392" y="45"/>
                  <a:pt x="390" y="45"/>
                </a:cubicBezTo>
                <a:cubicBezTo>
                  <a:pt x="390" y="46"/>
                  <a:pt x="390" y="46"/>
                  <a:pt x="390" y="46"/>
                </a:cubicBezTo>
                <a:cubicBezTo>
                  <a:pt x="389" y="46"/>
                  <a:pt x="389" y="46"/>
                  <a:pt x="388" y="46"/>
                </a:cubicBezTo>
                <a:cubicBezTo>
                  <a:pt x="388" y="46"/>
                  <a:pt x="387" y="45"/>
                  <a:pt x="387" y="45"/>
                </a:cubicBezTo>
                <a:cubicBezTo>
                  <a:pt x="387" y="45"/>
                  <a:pt x="386" y="45"/>
                  <a:pt x="385" y="45"/>
                </a:cubicBezTo>
                <a:cubicBezTo>
                  <a:pt x="385" y="44"/>
                  <a:pt x="385" y="44"/>
                  <a:pt x="384" y="44"/>
                </a:cubicBezTo>
                <a:cubicBezTo>
                  <a:pt x="384" y="43"/>
                  <a:pt x="383" y="44"/>
                  <a:pt x="383" y="44"/>
                </a:cubicBezTo>
                <a:cubicBezTo>
                  <a:pt x="382" y="44"/>
                  <a:pt x="383" y="43"/>
                  <a:pt x="382" y="43"/>
                </a:cubicBezTo>
                <a:cubicBezTo>
                  <a:pt x="381" y="43"/>
                  <a:pt x="381" y="41"/>
                  <a:pt x="380" y="43"/>
                </a:cubicBezTo>
                <a:cubicBezTo>
                  <a:pt x="380" y="43"/>
                  <a:pt x="380" y="42"/>
                  <a:pt x="380" y="41"/>
                </a:cubicBezTo>
                <a:cubicBezTo>
                  <a:pt x="379" y="41"/>
                  <a:pt x="378" y="41"/>
                  <a:pt x="377" y="41"/>
                </a:cubicBezTo>
                <a:cubicBezTo>
                  <a:pt x="376" y="41"/>
                  <a:pt x="377" y="42"/>
                  <a:pt x="377" y="42"/>
                </a:cubicBezTo>
                <a:cubicBezTo>
                  <a:pt x="377" y="43"/>
                  <a:pt x="376" y="43"/>
                  <a:pt x="376" y="44"/>
                </a:cubicBezTo>
                <a:cubicBezTo>
                  <a:pt x="374" y="44"/>
                  <a:pt x="374" y="46"/>
                  <a:pt x="371" y="45"/>
                </a:cubicBezTo>
                <a:cubicBezTo>
                  <a:pt x="371" y="45"/>
                  <a:pt x="371" y="46"/>
                  <a:pt x="370" y="46"/>
                </a:cubicBezTo>
                <a:cubicBezTo>
                  <a:pt x="370" y="47"/>
                  <a:pt x="371" y="46"/>
                  <a:pt x="372" y="46"/>
                </a:cubicBezTo>
                <a:cubicBezTo>
                  <a:pt x="372" y="47"/>
                  <a:pt x="373" y="47"/>
                  <a:pt x="373" y="47"/>
                </a:cubicBezTo>
                <a:cubicBezTo>
                  <a:pt x="373" y="49"/>
                  <a:pt x="373" y="48"/>
                  <a:pt x="374" y="49"/>
                </a:cubicBezTo>
                <a:cubicBezTo>
                  <a:pt x="374" y="50"/>
                  <a:pt x="375" y="50"/>
                  <a:pt x="376" y="51"/>
                </a:cubicBezTo>
                <a:cubicBezTo>
                  <a:pt x="376" y="51"/>
                  <a:pt x="375" y="52"/>
                  <a:pt x="375" y="52"/>
                </a:cubicBezTo>
                <a:cubicBezTo>
                  <a:pt x="373" y="53"/>
                  <a:pt x="373" y="51"/>
                  <a:pt x="373" y="52"/>
                </a:cubicBezTo>
                <a:cubicBezTo>
                  <a:pt x="373" y="52"/>
                  <a:pt x="373" y="52"/>
                  <a:pt x="373" y="52"/>
                </a:cubicBezTo>
                <a:cubicBezTo>
                  <a:pt x="371" y="53"/>
                  <a:pt x="369" y="52"/>
                  <a:pt x="368" y="53"/>
                </a:cubicBezTo>
                <a:cubicBezTo>
                  <a:pt x="367" y="53"/>
                  <a:pt x="365" y="54"/>
                  <a:pt x="365" y="55"/>
                </a:cubicBezTo>
                <a:cubicBezTo>
                  <a:pt x="363" y="54"/>
                  <a:pt x="363" y="56"/>
                  <a:pt x="362" y="56"/>
                </a:cubicBezTo>
                <a:cubicBezTo>
                  <a:pt x="361" y="57"/>
                  <a:pt x="361" y="57"/>
                  <a:pt x="361" y="57"/>
                </a:cubicBezTo>
                <a:cubicBezTo>
                  <a:pt x="360" y="57"/>
                  <a:pt x="360" y="58"/>
                  <a:pt x="359" y="58"/>
                </a:cubicBezTo>
                <a:cubicBezTo>
                  <a:pt x="359" y="58"/>
                  <a:pt x="358" y="59"/>
                  <a:pt x="358" y="59"/>
                </a:cubicBezTo>
                <a:cubicBezTo>
                  <a:pt x="357" y="59"/>
                  <a:pt x="354" y="60"/>
                  <a:pt x="354" y="59"/>
                </a:cubicBezTo>
                <a:cubicBezTo>
                  <a:pt x="353" y="59"/>
                  <a:pt x="352" y="59"/>
                  <a:pt x="352" y="60"/>
                </a:cubicBezTo>
                <a:cubicBezTo>
                  <a:pt x="350" y="60"/>
                  <a:pt x="349" y="60"/>
                  <a:pt x="347" y="60"/>
                </a:cubicBezTo>
                <a:cubicBezTo>
                  <a:pt x="346" y="60"/>
                  <a:pt x="346" y="60"/>
                  <a:pt x="346" y="60"/>
                </a:cubicBezTo>
                <a:cubicBezTo>
                  <a:pt x="345" y="61"/>
                  <a:pt x="344" y="61"/>
                  <a:pt x="344" y="62"/>
                </a:cubicBezTo>
                <a:cubicBezTo>
                  <a:pt x="344" y="63"/>
                  <a:pt x="342" y="63"/>
                  <a:pt x="342" y="65"/>
                </a:cubicBezTo>
                <a:cubicBezTo>
                  <a:pt x="342" y="66"/>
                  <a:pt x="344" y="66"/>
                  <a:pt x="344" y="66"/>
                </a:cubicBezTo>
                <a:cubicBezTo>
                  <a:pt x="344" y="68"/>
                  <a:pt x="344" y="69"/>
                  <a:pt x="342" y="69"/>
                </a:cubicBezTo>
                <a:cubicBezTo>
                  <a:pt x="343" y="70"/>
                  <a:pt x="342" y="70"/>
                  <a:pt x="341" y="70"/>
                </a:cubicBezTo>
                <a:cubicBezTo>
                  <a:pt x="341" y="71"/>
                  <a:pt x="341" y="71"/>
                  <a:pt x="341" y="72"/>
                </a:cubicBezTo>
                <a:cubicBezTo>
                  <a:pt x="342" y="73"/>
                  <a:pt x="342" y="72"/>
                  <a:pt x="342" y="73"/>
                </a:cubicBezTo>
                <a:cubicBezTo>
                  <a:pt x="343" y="74"/>
                  <a:pt x="342" y="73"/>
                  <a:pt x="341" y="73"/>
                </a:cubicBezTo>
                <a:cubicBezTo>
                  <a:pt x="341" y="74"/>
                  <a:pt x="341" y="75"/>
                  <a:pt x="341" y="75"/>
                </a:cubicBezTo>
                <a:cubicBezTo>
                  <a:pt x="341" y="75"/>
                  <a:pt x="339" y="75"/>
                  <a:pt x="339" y="75"/>
                </a:cubicBezTo>
                <a:cubicBezTo>
                  <a:pt x="338" y="76"/>
                  <a:pt x="339" y="77"/>
                  <a:pt x="339" y="77"/>
                </a:cubicBezTo>
                <a:cubicBezTo>
                  <a:pt x="338" y="78"/>
                  <a:pt x="338" y="76"/>
                  <a:pt x="338" y="76"/>
                </a:cubicBezTo>
                <a:cubicBezTo>
                  <a:pt x="338" y="76"/>
                  <a:pt x="337" y="77"/>
                  <a:pt x="338" y="79"/>
                </a:cubicBezTo>
                <a:cubicBezTo>
                  <a:pt x="337" y="78"/>
                  <a:pt x="337" y="79"/>
                  <a:pt x="337" y="80"/>
                </a:cubicBezTo>
                <a:cubicBezTo>
                  <a:pt x="337" y="80"/>
                  <a:pt x="336" y="79"/>
                  <a:pt x="336" y="80"/>
                </a:cubicBezTo>
                <a:cubicBezTo>
                  <a:pt x="336" y="80"/>
                  <a:pt x="336" y="81"/>
                  <a:pt x="335" y="80"/>
                </a:cubicBezTo>
                <a:cubicBezTo>
                  <a:pt x="335" y="81"/>
                  <a:pt x="334" y="81"/>
                  <a:pt x="334" y="82"/>
                </a:cubicBezTo>
                <a:cubicBezTo>
                  <a:pt x="334" y="82"/>
                  <a:pt x="333" y="82"/>
                  <a:pt x="333" y="83"/>
                </a:cubicBezTo>
                <a:cubicBezTo>
                  <a:pt x="332" y="83"/>
                  <a:pt x="333" y="82"/>
                  <a:pt x="333" y="81"/>
                </a:cubicBezTo>
                <a:cubicBezTo>
                  <a:pt x="333" y="82"/>
                  <a:pt x="332" y="81"/>
                  <a:pt x="332" y="81"/>
                </a:cubicBezTo>
                <a:cubicBezTo>
                  <a:pt x="332" y="81"/>
                  <a:pt x="332" y="80"/>
                  <a:pt x="332" y="80"/>
                </a:cubicBezTo>
                <a:cubicBezTo>
                  <a:pt x="332" y="80"/>
                  <a:pt x="332" y="79"/>
                  <a:pt x="331" y="79"/>
                </a:cubicBezTo>
                <a:cubicBezTo>
                  <a:pt x="331" y="79"/>
                  <a:pt x="331" y="78"/>
                  <a:pt x="330" y="79"/>
                </a:cubicBezTo>
                <a:cubicBezTo>
                  <a:pt x="331" y="78"/>
                  <a:pt x="331" y="77"/>
                  <a:pt x="331" y="76"/>
                </a:cubicBezTo>
                <a:cubicBezTo>
                  <a:pt x="331" y="75"/>
                  <a:pt x="330" y="75"/>
                  <a:pt x="330" y="74"/>
                </a:cubicBezTo>
                <a:cubicBezTo>
                  <a:pt x="330" y="73"/>
                  <a:pt x="331" y="71"/>
                  <a:pt x="330" y="69"/>
                </a:cubicBezTo>
                <a:cubicBezTo>
                  <a:pt x="332" y="71"/>
                  <a:pt x="330" y="68"/>
                  <a:pt x="331" y="67"/>
                </a:cubicBezTo>
                <a:cubicBezTo>
                  <a:pt x="331" y="67"/>
                  <a:pt x="332" y="69"/>
                  <a:pt x="332" y="68"/>
                </a:cubicBezTo>
                <a:cubicBezTo>
                  <a:pt x="332" y="68"/>
                  <a:pt x="332" y="67"/>
                  <a:pt x="332" y="67"/>
                </a:cubicBezTo>
                <a:cubicBezTo>
                  <a:pt x="333" y="66"/>
                  <a:pt x="335" y="65"/>
                  <a:pt x="335" y="65"/>
                </a:cubicBezTo>
                <a:cubicBezTo>
                  <a:pt x="335" y="65"/>
                  <a:pt x="336" y="64"/>
                  <a:pt x="335" y="64"/>
                </a:cubicBezTo>
                <a:cubicBezTo>
                  <a:pt x="335" y="64"/>
                  <a:pt x="336" y="64"/>
                  <a:pt x="336" y="64"/>
                </a:cubicBezTo>
                <a:cubicBezTo>
                  <a:pt x="337" y="63"/>
                  <a:pt x="337" y="63"/>
                  <a:pt x="337" y="61"/>
                </a:cubicBezTo>
                <a:cubicBezTo>
                  <a:pt x="337" y="61"/>
                  <a:pt x="339" y="61"/>
                  <a:pt x="339" y="60"/>
                </a:cubicBezTo>
                <a:cubicBezTo>
                  <a:pt x="339" y="60"/>
                  <a:pt x="338" y="60"/>
                  <a:pt x="338" y="60"/>
                </a:cubicBezTo>
                <a:cubicBezTo>
                  <a:pt x="338" y="60"/>
                  <a:pt x="339" y="59"/>
                  <a:pt x="339" y="59"/>
                </a:cubicBezTo>
                <a:cubicBezTo>
                  <a:pt x="339" y="59"/>
                  <a:pt x="340" y="61"/>
                  <a:pt x="340" y="59"/>
                </a:cubicBezTo>
                <a:cubicBezTo>
                  <a:pt x="340" y="59"/>
                  <a:pt x="341" y="58"/>
                  <a:pt x="342" y="58"/>
                </a:cubicBezTo>
                <a:cubicBezTo>
                  <a:pt x="342" y="58"/>
                  <a:pt x="342" y="57"/>
                  <a:pt x="342" y="57"/>
                </a:cubicBezTo>
                <a:cubicBezTo>
                  <a:pt x="343" y="57"/>
                  <a:pt x="343" y="57"/>
                  <a:pt x="343" y="57"/>
                </a:cubicBezTo>
                <a:cubicBezTo>
                  <a:pt x="344" y="57"/>
                  <a:pt x="344" y="56"/>
                  <a:pt x="344" y="56"/>
                </a:cubicBezTo>
                <a:cubicBezTo>
                  <a:pt x="345" y="56"/>
                  <a:pt x="345" y="56"/>
                  <a:pt x="345" y="56"/>
                </a:cubicBezTo>
                <a:cubicBezTo>
                  <a:pt x="345" y="55"/>
                  <a:pt x="345" y="54"/>
                  <a:pt x="346" y="55"/>
                </a:cubicBezTo>
                <a:cubicBezTo>
                  <a:pt x="346" y="54"/>
                  <a:pt x="346" y="53"/>
                  <a:pt x="346" y="52"/>
                </a:cubicBezTo>
                <a:cubicBezTo>
                  <a:pt x="345" y="52"/>
                  <a:pt x="344" y="53"/>
                  <a:pt x="344" y="53"/>
                </a:cubicBezTo>
                <a:cubicBezTo>
                  <a:pt x="344" y="53"/>
                  <a:pt x="343" y="54"/>
                  <a:pt x="343" y="54"/>
                </a:cubicBezTo>
                <a:cubicBezTo>
                  <a:pt x="343" y="54"/>
                  <a:pt x="342" y="54"/>
                  <a:pt x="342" y="54"/>
                </a:cubicBezTo>
                <a:cubicBezTo>
                  <a:pt x="342" y="55"/>
                  <a:pt x="341" y="55"/>
                  <a:pt x="341" y="56"/>
                </a:cubicBezTo>
                <a:cubicBezTo>
                  <a:pt x="340" y="56"/>
                  <a:pt x="339" y="56"/>
                  <a:pt x="339" y="57"/>
                </a:cubicBezTo>
                <a:cubicBezTo>
                  <a:pt x="339" y="57"/>
                  <a:pt x="339" y="56"/>
                  <a:pt x="339" y="56"/>
                </a:cubicBezTo>
                <a:cubicBezTo>
                  <a:pt x="339" y="56"/>
                  <a:pt x="338" y="56"/>
                  <a:pt x="338" y="56"/>
                </a:cubicBezTo>
                <a:cubicBezTo>
                  <a:pt x="338" y="56"/>
                  <a:pt x="338" y="55"/>
                  <a:pt x="338" y="55"/>
                </a:cubicBezTo>
                <a:cubicBezTo>
                  <a:pt x="336" y="55"/>
                  <a:pt x="335" y="54"/>
                  <a:pt x="333" y="55"/>
                </a:cubicBezTo>
                <a:cubicBezTo>
                  <a:pt x="332" y="55"/>
                  <a:pt x="333" y="56"/>
                  <a:pt x="333" y="56"/>
                </a:cubicBezTo>
                <a:cubicBezTo>
                  <a:pt x="332" y="56"/>
                  <a:pt x="331" y="56"/>
                  <a:pt x="331" y="56"/>
                </a:cubicBezTo>
                <a:cubicBezTo>
                  <a:pt x="330" y="57"/>
                  <a:pt x="330" y="57"/>
                  <a:pt x="329" y="58"/>
                </a:cubicBezTo>
                <a:cubicBezTo>
                  <a:pt x="329" y="58"/>
                  <a:pt x="329" y="59"/>
                  <a:pt x="328" y="59"/>
                </a:cubicBezTo>
                <a:cubicBezTo>
                  <a:pt x="328" y="60"/>
                  <a:pt x="329" y="60"/>
                  <a:pt x="328" y="61"/>
                </a:cubicBezTo>
                <a:cubicBezTo>
                  <a:pt x="328" y="61"/>
                  <a:pt x="327" y="61"/>
                  <a:pt x="327" y="62"/>
                </a:cubicBezTo>
                <a:cubicBezTo>
                  <a:pt x="326" y="62"/>
                  <a:pt x="325" y="63"/>
                  <a:pt x="323" y="63"/>
                </a:cubicBezTo>
                <a:cubicBezTo>
                  <a:pt x="323" y="62"/>
                  <a:pt x="323" y="62"/>
                  <a:pt x="323" y="61"/>
                </a:cubicBezTo>
                <a:cubicBezTo>
                  <a:pt x="322" y="62"/>
                  <a:pt x="322" y="61"/>
                  <a:pt x="322" y="60"/>
                </a:cubicBezTo>
                <a:cubicBezTo>
                  <a:pt x="322" y="60"/>
                  <a:pt x="321" y="61"/>
                  <a:pt x="320" y="60"/>
                </a:cubicBezTo>
                <a:cubicBezTo>
                  <a:pt x="318" y="61"/>
                  <a:pt x="316" y="62"/>
                  <a:pt x="313" y="62"/>
                </a:cubicBezTo>
                <a:cubicBezTo>
                  <a:pt x="312" y="62"/>
                  <a:pt x="311" y="62"/>
                  <a:pt x="312" y="60"/>
                </a:cubicBezTo>
                <a:cubicBezTo>
                  <a:pt x="311" y="60"/>
                  <a:pt x="310" y="60"/>
                  <a:pt x="310" y="60"/>
                </a:cubicBezTo>
                <a:cubicBezTo>
                  <a:pt x="308" y="61"/>
                  <a:pt x="306" y="61"/>
                  <a:pt x="305" y="62"/>
                </a:cubicBezTo>
                <a:cubicBezTo>
                  <a:pt x="303" y="63"/>
                  <a:pt x="302" y="64"/>
                  <a:pt x="301" y="65"/>
                </a:cubicBezTo>
                <a:cubicBezTo>
                  <a:pt x="301" y="66"/>
                  <a:pt x="301" y="66"/>
                  <a:pt x="300" y="66"/>
                </a:cubicBezTo>
                <a:cubicBezTo>
                  <a:pt x="300" y="67"/>
                  <a:pt x="299" y="67"/>
                  <a:pt x="299" y="68"/>
                </a:cubicBezTo>
                <a:cubicBezTo>
                  <a:pt x="299" y="68"/>
                  <a:pt x="298" y="70"/>
                  <a:pt x="297" y="70"/>
                </a:cubicBezTo>
                <a:cubicBezTo>
                  <a:pt x="296" y="69"/>
                  <a:pt x="297" y="70"/>
                  <a:pt x="296" y="70"/>
                </a:cubicBezTo>
                <a:cubicBezTo>
                  <a:pt x="295" y="70"/>
                  <a:pt x="295" y="70"/>
                  <a:pt x="295" y="71"/>
                </a:cubicBezTo>
                <a:cubicBezTo>
                  <a:pt x="293" y="70"/>
                  <a:pt x="293" y="73"/>
                  <a:pt x="292" y="73"/>
                </a:cubicBezTo>
                <a:cubicBezTo>
                  <a:pt x="292" y="73"/>
                  <a:pt x="293" y="75"/>
                  <a:pt x="293" y="74"/>
                </a:cubicBezTo>
                <a:cubicBezTo>
                  <a:pt x="294" y="74"/>
                  <a:pt x="294" y="75"/>
                  <a:pt x="294" y="76"/>
                </a:cubicBezTo>
                <a:cubicBezTo>
                  <a:pt x="295" y="75"/>
                  <a:pt x="295" y="76"/>
                  <a:pt x="295" y="76"/>
                </a:cubicBezTo>
                <a:cubicBezTo>
                  <a:pt x="296" y="76"/>
                  <a:pt x="296" y="76"/>
                  <a:pt x="297" y="76"/>
                </a:cubicBezTo>
                <a:cubicBezTo>
                  <a:pt x="297" y="76"/>
                  <a:pt x="298" y="76"/>
                  <a:pt x="298" y="76"/>
                </a:cubicBezTo>
                <a:cubicBezTo>
                  <a:pt x="298" y="76"/>
                  <a:pt x="299" y="75"/>
                  <a:pt x="299" y="76"/>
                </a:cubicBezTo>
                <a:cubicBezTo>
                  <a:pt x="299" y="76"/>
                  <a:pt x="299" y="75"/>
                  <a:pt x="299" y="75"/>
                </a:cubicBezTo>
                <a:cubicBezTo>
                  <a:pt x="300" y="75"/>
                  <a:pt x="300" y="78"/>
                  <a:pt x="301" y="77"/>
                </a:cubicBezTo>
                <a:cubicBezTo>
                  <a:pt x="302" y="77"/>
                  <a:pt x="301" y="79"/>
                  <a:pt x="303" y="78"/>
                </a:cubicBezTo>
                <a:cubicBezTo>
                  <a:pt x="303" y="79"/>
                  <a:pt x="302" y="78"/>
                  <a:pt x="302" y="79"/>
                </a:cubicBezTo>
                <a:cubicBezTo>
                  <a:pt x="302" y="79"/>
                  <a:pt x="302" y="80"/>
                  <a:pt x="302" y="80"/>
                </a:cubicBezTo>
                <a:cubicBezTo>
                  <a:pt x="302" y="81"/>
                  <a:pt x="302" y="81"/>
                  <a:pt x="302" y="81"/>
                </a:cubicBezTo>
                <a:cubicBezTo>
                  <a:pt x="302" y="81"/>
                  <a:pt x="301" y="81"/>
                  <a:pt x="301" y="82"/>
                </a:cubicBezTo>
                <a:cubicBezTo>
                  <a:pt x="301" y="83"/>
                  <a:pt x="302" y="86"/>
                  <a:pt x="300" y="85"/>
                </a:cubicBezTo>
                <a:cubicBezTo>
                  <a:pt x="301" y="89"/>
                  <a:pt x="299" y="91"/>
                  <a:pt x="298" y="94"/>
                </a:cubicBezTo>
                <a:cubicBezTo>
                  <a:pt x="297" y="94"/>
                  <a:pt x="297" y="94"/>
                  <a:pt x="297" y="94"/>
                </a:cubicBezTo>
                <a:cubicBezTo>
                  <a:pt x="297" y="94"/>
                  <a:pt x="297" y="95"/>
                  <a:pt x="297" y="95"/>
                </a:cubicBezTo>
                <a:cubicBezTo>
                  <a:pt x="296" y="95"/>
                  <a:pt x="296" y="95"/>
                  <a:pt x="295" y="95"/>
                </a:cubicBezTo>
                <a:cubicBezTo>
                  <a:pt x="295" y="96"/>
                  <a:pt x="295" y="96"/>
                  <a:pt x="295" y="96"/>
                </a:cubicBezTo>
                <a:cubicBezTo>
                  <a:pt x="295" y="97"/>
                  <a:pt x="294" y="96"/>
                  <a:pt x="294" y="96"/>
                </a:cubicBezTo>
                <a:cubicBezTo>
                  <a:pt x="294" y="97"/>
                  <a:pt x="295" y="97"/>
                  <a:pt x="295" y="97"/>
                </a:cubicBezTo>
                <a:cubicBezTo>
                  <a:pt x="295" y="97"/>
                  <a:pt x="294" y="97"/>
                  <a:pt x="293" y="98"/>
                </a:cubicBezTo>
                <a:cubicBezTo>
                  <a:pt x="293" y="98"/>
                  <a:pt x="293" y="99"/>
                  <a:pt x="293" y="99"/>
                </a:cubicBezTo>
                <a:cubicBezTo>
                  <a:pt x="293" y="100"/>
                  <a:pt x="292" y="99"/>
                  <a:pt x="292" y="100"/>
                </a:cubicBezTo>
                <a:cubicBezTo>
                  <a:pt x="291" y="100"/>
                  <a:pt x="291" y="101"/>
                  <a:pt x="291" y="101"/>
                </a:cubicBezTo>
                <a:cubicBezTo>
                  <a:pt x="291" y="101"/>
                  <a:pt x="290" y="101"/>
                  <a:pt x="290" y="101"/>
                </a:cubicBezTo>
                <a:cubicBezTo>
                  <a:pt x="290" y="101"/>
                  <a:pt x="290" y="102"/>
                  <a:pt x="290" y="102"/>
                </a:cubicBezTo>
                <a:cubicBezTo>
                  <a:pt x="289" y="102"/>
                  <a:pt x="289" y="101"/>
                  <a:pt x="289" y="103"/>
                </a:cubicBezTo>
                <a:cubicBezTo>
                  <a:pt x="286" y="103"/>
                  <a:pt x="287" y="103"/>
                  <a:pt x="284" y="103"/>
                </a:cubicBezTo>
                <a:cubicBezTo>
                  <a:pt x="284" y="103"/>
                  <a:pt x="282" y="104"/>
                  <a:pt x="283" y="104"/>
                </a:cubicBezTo>
                <a:cubicBezTo>
                  <a:pt x="284" y="105"/>
                  <a:pt x="280" y="104"/>
                  <a:pt x="282" y="105"/>
                </a:cubicBezTo>
                <a:cubicBezTo>
                  <a:pt x="282" y="106"/>
                  <a:pt x="281" y="106"/>
                  <a:pt x="281" y="105"/>
                </a:cubicBezTo>
                <a:cubicBezTo>
                  <a:pt x="280" y="106"/>
                  <a:pt x="280" y="107"/>
                  <a:pt x="280" y="109"/>
                </a:cubicBezTo>
                <a:cubicBezTo>
                  <a:pt x="279" y="109"/>
                  <a:pt x="279" y="109"/>
                  <a:pt x="278" y="109"/>
                </a:cubicBezTo>
                <a:cubicBezTo>
                  <a:pt x="279" y="110"/>
                  <a:pt x="278" y="110"/>
                  <a:pt x="278" y="110"/>
                </a:cubicBezTo>
                <a:cubicBezTo>
                  <a:pt x="278" y="111"/>
                  <a:pt x="278" y="115"/>
                  <a:pt x="278" y="114"/>
                </a:cubicBezTo>
                <a:cubicBezTo>
                  <a:pt x="280" y="114"/>
                  <a:pt x="279" y="117"/>
                  <a:pt x="280" y="117"/>
                </a:cubicBezTo>
                <a:cubicBezTo>
                  <a:pt x="281" y="117"/>
                  <a:pt x="280" y="119"/>
                  <a:pt x="281" y="119"/>
                </a:cubicBezTo>
                <a:cubicBezTo>
                  <a:pt x="281" y="119"/>
                  <a:pt x="281" y="120"/>
                  <a:pt x="280" y="120"/>
                </a:cubicBezTo>
                <a:cubicBezTo>
                  <a:pt x="280" y="120"/>
                  <a:pt x="279" y="120"/>
                  <a:pt x="279" y="120"/>
                </a:cubicBezTo>
                <a:cubicBezTo>
                  <a:pt x="279" y="120"/>
                  <a:pt x="279" y="120"/>
                  <a:pt x="279" y="121"/>
                </a:cubicBezTo>
                <a:cubicBezTo>
                  <a:pt x="279" y="121"/>
                  <a:pt x="278" y="120"/>
                  <a:pt x="278" y="121"/>
                </a:cubicBezTo>
                <a:cubicBezTo>
                  <a:pt x="277" y="121"/>
                  <a:pt x="275" y="122"/>
                  <a:pt x="274" y="121"/>
                </a:cubicBezTo>
                <a:cubicBezTo>
                  <a:pt x="274" y="120"/>
                  <a:pt x="275" y="120"/>
                  <a:pt x="275" y="119"/>
                </a:cubicBezTo>
                <a:cubicBezTo>
                  <a:pt x="275" y="118"/>
                  <a:pt x="274" y="117"/>
                  <a:pt x="275" y="116"/>
                </a:cubicBezTo>
                <a:cubicBezTo>
                  <a:pt x="275" y="116"/>
                  <a:pt x="274" y="116"/>
                  <a:pt x="274" y="115"/>
                </a:cubicBezTo>
                <a:cubicBezTo>
                  <a:pt x="273" y="114"/>
                  <a:pt x="272" y="115"/>
                  <a:pt x="271" y="114"/>
                </a:cubicBezTo>
                <a:cubicBezTo>
                  <a:pt x="271" y="112"/>
                  <a:pt x="273" y="113"/>
                  <a:pt x="272" y="111"/>
                </a:cubicBezTo>
                <a:cubicBezTo>
                  <a:pt x="272" y="111"/>
                  <a:pt x="272" y="111"/>
                  <a:pt x="272" y="111"/>
                </a:cubicBezTo>
                <a:cubicBezTo>
                  <a:pt x="271" y="111"/>
                  <a:pt x="271" y="111"/>
                  <a:pt x="271" y="110"/>
                </a:cubicBezTo>
                <a:cubicBezTo>
                  <a:pt x="271" y="110"/>
                  <a:pt x="270" y="110"/>
                  <a:pt x="270" y="109"/>
                </a:cubicBezTo>
                <a:cubicBezTo>
                  <a:pt x="270" y="110"/>
                  <a:pt x="269" y="110"/>
                  <a:pt x="269" y="110"/>
                </a:cubicBezTo>
                <a:cubicBezTo>
                  <a:pt x="268" y="110"/>
                  <a:pt x="268" y="110"/>
                  <a:pt x="269" y="110"/>
                </a:cubicBezTo>
                <a:cubicBezTo>
                  <a:pt x="269" y="112"/>
                  <a:pt x="267" y="109"/>
                  <a:pt x="268" y="111"/>
                </a:cubicBezTo>
                <a:cubicBezTo>
                  <a:pt x="266" y="110"/>
                  <a:pt x="267" y="112"/>
                  <a:pt x="265" y="111"/>
                </a:cubicBezTo>
                <a:cubicBezTo>
                  <a:pt x="266" y="110"/>
                  <a:pt x="265" y="109"/>
                  <a:pt x="266" y="108"/>
                </a:cubicBezTo>
                <a:cubicBezTo>
                  <a:pt x="267" y="108"/>
                  <a:pt x="264" y="108"/>
                  <a:pt x="264" y="109"/>
                </a:cubicBezTo>
                <a:cubicBezTo>
                  <a:pt x="264" y="110"/>
                  <a:pt x="263" y="109"/>
                  <a:pt x="264" y="108"/>
                </a:cubicBezTo>
                <a:cubicBezTo>
                  <a:pt x="263" y="109"/>
                  <a:pt x="263" y="110"/>
                  <a:pt x="262" y="110"/>
                </a:cubicBezTo>
                <a:cubicBezTo>
                  <a:pt x="262" y="110"/>
                  <a:pt x="261" y="111"/>
                  <a:pt x="261" y="111"/>
                </a:cubicBezTo>
                <a:cubicBezTo>
                  <a:pt x="261" y="111"/>
                  <a:pt x="260" y="111"/>
                  <a:pt x="260" y="112"/>
                </a:cubicBezTo>
                <a:cubicBezTo>
                  <a:pt x="258" y="111"/>
                  <a:pt x="259" y="111"/>
                  <a:pt x="257" y="112"/>
                </a:cubicBezTo>
                <a:cubicBezTo>
                  <a:pt x="257" y="112"/>
                  <a:pt x="257" y="113"/>
                  <a:pt x="257" y="113"/>
                </a:cubicBezTo>
                <a:cubicBezTo>
                  <a:pt x="258" y="113"/>
                  <a:pt x="259" y="113"/>
                  <a:pt x="259" y="113"/>
                </a:cubicBezTo>
                <a:cubicBezTo>
                  <a:pt x="259" y="113"/>
                  <a:pt x="259" y="114"/>
                  <a:pt x="259" y="114"/>
                </a:cubicBezTo>
                <a:cubicBezTo>
                  <a:pt x="259" y="114"/>
                  <a:pt x="260" y="114"/>
                  <a:pt x="260" y="114"/>
                </a:cubicBezTo>
                <a:cubicBezTo>
                  <a:pt x="260" y="114"/>
                  <a:pt x="260" y="115"/>
                  <a:pt x="260" y="115"/>
                </a:cubicBezTo>
                <a:cubicBezTo>
                  <a:pt x="261" y="115"/>
                  <a:pt x="261" y="115"/>
                  <a:pt x="262" y="115"/>
                </a:cubicBezTo>
                <a:cubicBezTo>
                  <a:pt x="262" y="115"/>
                  <a:pt x="262" y="115"/>
                  <a:pt x="263" y="115"/>
                </a:cubicBezTo>
                <a:cubicBezTo>
                  <a:pt x="265" y="114"/>
                  <a:pt x="266" y="115"/>
                  <a:pt x="266" y="116"/>
                </a:cubicBezTo>
                <a:cubicBezTo>
                  <a:pt x="265" y="117"/>
                  <a:pt x="264" y="117"/>
                  <a:pt x="264" y="116"/>
                </a:cubicBezTo>
                <a:cubicBezTo>
                  <a:pt x="263" y="117"/>
                  <a:pt x="263" y="118"/>
                  <a:pt x="263" y="119"/>
                </a:cubicBezTo>
                <a:cubicBezTo>
                  <a:pt x="262" y="119"/>
                  <a:pt x="262" y="119"/>
                  <a:pt x="263" y="119"/>
                </a:cubicBezTo>
                <a:cubicBezTo>
                  <a:pt x="262" y="120"/>
                  <a:pt x="261" y="120"/>
                  <a:pt x="261" y="120"/>
                </a:cubicBezTo>
                <a:cubicBezTo>
                  <a:pt x="261" y="121"/>
                  <a:pt x="263" y="122"/>
                  <a:pt x="263" y="124"/>
                </a:cubicBezTo>
                <a:cubicBezTo>
                  <a:pt x="264" y="123"/>
                  <a:pt x="264" y="124"/>
                  <a:pt x="264" y="125"/>
                </a:cubicBezTo>
                <a:cubicBezTo>
                  <a:pt x="264" y="127"/>
                  <a:pt x="265" y="129"/>
                  <a:pt x="264" y="130"/>
                </a:cubicBezTo>
                <a:cubicBezTo>
                  <a:pt x="265" y="131"/>
                  <a:pt x="265" y="133"/>
                  <a:pt x="265" y="135"/>
                </a:cubicBezTo>
                <a:cubicBezTo>
                  <a:pt x="263" y="134"/>
                  <a:pt x="264" y="137"/>
                  <a:pt x="264" y="136"/>
                </a:cubicBezTo>
                <a:cubicBezTo>
                  <a:pt x="263" y="135"/>
                  <a:pt x="263" y="136"/>
                  <a:pt x="263" y="136"/>
                </a:cubicBezTo>
                <a:cubicBezTo>
                  <a:pt x="263" y="137"/>
                  <a:pt x="262" y="137"/>
                  <a:pt x="262" y="138"/>
                </a:cubicBezTo>
                <a:cubicBezTo>
                  <a:pt x="261" y="138"/>
                  <a:pt x="262" y="140"/>
                  <a:pt x="260" y="139"/>
                </a:cubicBezTo>
                <a:cubicBezTo>
                  <a:pt x="262" y="140"/>
                  <a:pt x="258" y="141"/>
                  <a:pt x="259" y="142"/>
                </a:cubicBezTo>
                <a:cubicBezTo>
                  <a:pt x="260" y="142"/>
                  <a:pt x="259" y="142"/>
                  <a:pt x="258" y="143"/>
                </a:cubicBezTo>
                <a:cubicBezTo>
                  <a:pt x="258" y="143"/>
                  <a:pt x="258" y="144"/>
                  <a:pt x="257" y="144"/>
                </a:cubicBezTo>
                <a:cubicBezTo>
                  <a:pt x="257" y="144"/>
                  <a:pt x="257" y="144"/>
                  <a:pt x="257" y="144"/>
                </a:cubicBezTo>
                <a:cubicBezTo>
                  <a:pt x="256" y="144"/>
                  <a:pt x="257" y="145"/>
                  <a:pt x="257" y="145"/>
                </a:cubicBezTo>
                <a:cubicBezTo>
                  <a:pt x="256" y="145"/>
                  <a:pt x="255" y="145"/>
                  <a:pt x="255" y="146"/>
                </a:cubicBezTo>
                <a:cubicBezTo>
                  <a:pt x="252" y="146"/>
                  <a:pt x="253" y="146"/>
                  <a:pt x="250" y="146"/>
                </a:cubicBezTo>
                <a:cubicBezTo>
                  <a:pt x="249" y="146"/>
                  <a:pt x="249" y="147"/>
                  <a:pt x="249" y="147"/>
                </a:cubicBezTo>
                <a:cubicBezTo>
                  <a:pt x="248" y="146"/>
                  <a:pt x="247" y="148"/>
                  <a:pt x="246" y="148"/>
                </a:cubicBezTo>
                <a:cubicBezTo>
                  <a:pt x="245" y="147"/>
                  <a:pt x="246" y="149"/>
                  <a:pt x="244" y="149"/>
                </a:cubicBezTo>
                <a:cubicBezTo>
                  <a:pt x="244" y="149"/>
                  <a:pt x="245" y="149"/>
                  <a:pt x="244" y="150"/>
                </a:cubicBezTo>
                <a:cubicBezTo>
                  <a:pt x="243" y="151"/>
                  <a:pt x="242" y="149"/>
                  <a:pt x="241" y="149"/>
                </a:cubicBezTo>
                <a:cubicBezTo>
                  <a:pt x="240" y="148"/>
                  <a:pt x="239" y="149"/>
                  <a:pt x="238" y="149"/>
                </a:cubicBezTo>
                <a:cubicBezTo>
                  <a:pt x="238" y="149"/>
                  <a:pt x="237" y="150"/>
                  <a:pt x="237" y="151"/>
                </a:cubicBezTo>
                <a:cubicBezTo>
                  <a:pt x="236" y="151"/>
                  <a:pt x="236" y="152"/>
                  <a:pt x="235" y="152"/>
                </a:cubicBezTo>
                <a:cubicBezTo>
                  <a:pt x="235" y="153"/>
                  <a:pt x="236" y="153"/>
                  <a:pt x="236" y="154"/>
                </a:cubicBezTo>
                <a:cubicBezTo>
                  <a:pt x="236" y="154"/>
                  <a:pt x="236" y="155"/>
                  <a:pt x="236" y="155"/>
                </a:cubicBezTo>
                <a:cubicBezTo>
                  <a:pt x="237" y="155"/>
                  <a:pt x="237" y="155"/>
                  <a:pt x="237" y="156"/>
                </a:cubicBezTo>
                <a:cubicBezTo>
                  <a:pt x="237" y="156"/>
                  <a:pt x="238" y="156"/>
                  <a:pt x="238" y="156"/>
                </a:cubicBezTo>
                <a:cubicBezTo>
                  <a:pt x="239" y="156"/>
                  <a:pt x="238" y="157"/>
                  <a:pt x="238" y="157"/>
                </a:cubicBezTo>
                <a:cubicBezTo>
                  <a:pt x="238" y="157"/>
                  <a:pt x="239" y="157"/>
                  <a:pt x="239" y="157"/>
                </a:cubicBezTo>
                <a:cubicBezTo>
                  <a:pt x="240" y="157"/>
                  <a:pt x="240" y="159"/>
                  <a:pt x="240" y="159"/>
                </a:cubicBezTo>
                <a:cubicBezTo>
                  <a:pt x="241" y="160"/>
                  <a:pt x="242" y="161"/>
                  <a:pt x="242" y="161"/>
                </a:cubicBezTo>
                <a:cubicBezTo>
                  <a:pt x="242" y="161"/>
                  <a:pt x="242" y="162"/>
                  <a:pt x="242" y="163"/>
                </a:cubicBezTo>
                <a:cubicBezTo>
                  <a:pt x="242" y="163"/>
                  <a:pt x="242" y="164"/>
                  <a:pt x="242" y="164"/>
                </a:cubicBezTo>
                <a:cubicBezTo>
                  <a:pt x="242" y="165"/>
                  <a:pt x="242" y="165"/>
                  <a:pt x="242" y="166"/>
                </a:cubicBezTo>
                <a:cubicBezTo>
                  <a:pt x="241" y="167"/>
                  <a:pt x="242" y="168"/>
                  <a:pt x="241" y="167"/>
                </a:cubicBezTo>
                <a:cubicBezTo>
                  <a:pt x="241" y="169"/>
                  <a:pt x="239" y="168"/>
                  <a:pt x="240" y="169"/>
                </a:cubicBezTo>
                <a:cubicBezTo>
                  <a:pt x="238" y="169"/>
                  <a:pt x="238" y="170"/>
                  <a:pt x="237" y="170"/>
                </a:cubicBezTo>
                <a:cubicBezTo>
                  <a:pt x="236" y="170"/>
                  <a:pt x="237" y="171"/>
                  <a:pt x="236" y="171"/>
                </a:cubicBezTo>
                <a:cubicBezTo>
                  <a:pt x="236" y="171"/>
                  <a:pt x="235" y="171"/>
                  <a:pt x="236" y="171"/>
                </a:cubicBezTo>
                <a:cubicBezTo>
                  <a:pt x="236" y="172"/>
                  <a:pt x="236" y="172"/>
                  <a:pt x="236" y="172"/>
                </a:cubicBezTo>
                <a:cubicBezTo>
                  <a:pt x="235" y="172"/>
                  <a:pt x="235" y="173"/>
                  <a:pt x="234" y="173"/>
                </a:cubicBezTo>
                <a:cubicBezTo>
                  <a:pt x="235" y="171"/>
                  <a:pt x="233" y="173"/>
                  <a:pt x="233" y="171"/>
                </a:cubicBezTo>
                <a:cubicBezTo>
                  <a:pt x="233" y="171"/>
                  <a:pt x="233" y="170"/>
                  <a:pt x="232" y="170"/>
                </a:cubicBezTo>
                <a:cubicBezTo>
                  <a:pt x="232" y="169"/>
                  <a:pt x="232" y="170"/>
                  <a:pt x="231" y="170"/>
                </a:cubicBezTo>
                <a:cubicBezTo>
                  <a:pt x="231" y="169"/>
                  <a:pt x="232" y="169"/>
                  <a:pt x="231" y="169"/>
                </a:cubicBezTo>
                <a:cubicBezTo>
                  <a:pt x="231" y="168"/>
                  <a:pt x="230" y="169"/>
                  <a:pt x="229" y="168"/>
                </a:cubicBezTo>
                <a:cubicBezTo>
                  <a:pt x="229" y="168"/>
                  <a:pt x="230" y="167"/>
                  <a:pt x="229" y="167"/>
                </a:cubicBezTo>
                <a:cubicBezTo>
                  <a:pt x="229" y="167"/>
                  <a:pt x="228" y="167"/>
                  <a:pt x="228" y="167"/>
                </a:cubicBezTo>
                <a:cubicBezTo>
                  <a:pt x="228" y="167"/>
                  <a:pt x="228" y="166"/>
                  <a:pt x="228" y="166"/>
                </a:cubicBezTo>
                <a:cubicBezTo>
                  <a:pt x="227" y="166"/>
                  <a:pt x="227" y="166"/>
                  <a:pt x="227" y="166"/>
                </a:cubicBezTo>
                <a:cubicBezTo>
                  <a:pt x="226" y="165"/>
                  <a:pt x="227" y="165"/>
                  <a:pt x="226" y="164"/>
                </a:cubicBezTo>
                <a:cubicBezTo>
                  <a:pt x="224" y="164"/>
                  <a:pt x="225" y="166"/>
                  <a:pt x="224" y="167"/>
                </a:cubicBezTo>
                <a:cubicBezTo>
                  <a:pt x="224" y="167"/>
                  <a:pt x="223" y="167"/>
                  <a:pt x="223" y="167"/>
                </a:cubicBezTo>
                <a:cubicBezTo>
                  <a:pt x="223" y="168"/>
                  <a:pt x="224" y="169"/>
                  <a:pt x="223" y="170"/>
                </a:cubicBezTo>
                <a:cubicBezTo>
                  <a:pt x="223" y="170"/>
                  <a:pt x="223" y="171"/>
                  <a:pt x="223" y="171"/>
                </a:cubicBezTo>
                <a:cubicBezTo>
                  <a:pt x="224" y="172"/>
                  <a:pt x="224" y="173"/>
                  <a:pt x="224" y="172"/>
                </a:cubicBezTo>
                <a:cubicBezTo>
                  <a:pt x="225" y="173"/>
                  <a:pt x="225" y="174"/>
                  <a:pt x="225" y="175"/>
                </a:cubicBezTo>
                <a:cubicBezTo>
                  <a:pt x="225" y="176"/>
                  <a:pt x="225" y="176"/>
                  <a:pt x="225" y="176"/>
                </a:cubicBezTo>
                <a:cubicBezTo>
                  <a:pt x="226" y="176"/>
                  <a:pt x="226" y="177"/>
                  <a:pt x="226" y="177"/>
                </a:cubicBezTo>
                <a:cubicBezTo>
                  <a:pt x="227" y="178"/>
                  <a:pt x="228" y="178"/>
                  <a:pt x="229" y="178"/>
                </a:cubicBezTo>
                <a:cubicBezTo>
                  <a:pt x="229" y="179"/>
                  <a:pt x="228" y="179"/>
                  <a:pt x="229" y="179"/>
                </a:cubicBezTo>
                <a:cubicBezTo>
                  <a:pt x="229" y="179"/>
                  <a:pt x="229" y="180"/>
                  <a:pt x="229" y="180"/>
                </a:cubicBezTo>
                <a:cubicBezTo>
                  <a:pt x="230" y="180"/>
                  <a:pt x="230" y="180"/>
                  <a:pt x="230" y="180"/>
                </a:cubicBezTo>
                <a:cubicBezTo>
                  <a:pt x="231" y="181"/>
                  <a:pt x="230" y="182"/>
                  <a:pt x="230" y="182"/>
                </a:cubicBezTo>
                <a:cubicBezTo>
                  <a:pt x="230" y="182"/>
                  <a:pt x="231" y="183"/>
                  <a:pt x="231" y="183"/>
                </a:cubicBezTo>
                <a:cubicBezTo>
                  <a:pt x="231" y="184"/>
                  <a:pt x="230" y="185"/>
                  <a:pt x="232" y="185"/>
                </a:cubicBezTo>
                <a:cubicBezTo>
                  <a:pt x="232" y="186"/>
                  <a:pt x="231" y="186"/>
                  <a:pt x="230" y="185"/>
                </a:cubicBezTo>
                <a:cubicBezTo>
                  <a:pt x="229" y="185"/>
                  <a:pt x="228" y="185"/>
                  <a:pt x="228" y="185"/>
                </a:cubicBezTo>
                <a:cubicBezTo>
                  <a:pt x="228" y="185"/>
                  <a:pt x="228" y="183"/>
                  <a:pt x="227" y="185"/>
                </a:cubicBezTo>
                <a:cubicBezTo>
                  <a:pt x="226" y="184"/>
                  <a:pt x="227" y="183"/>
                  <a:pt x="226" y="182"/>
                </a:cubicBezTo>
                <a:cubicBezTo>
                  <a:pt x="226" y="182"/>
                  <a:pt x="225" y="182"/>
                  <a:pt x="225" y="181"/>
                </a:cubicBezTo>
                <a:cubicBezTo>
                  <a:pt x="225" y="180"/>
                  <a:pt x="225" y="179"/>
                  <a:pt x="225" y="179"/>
                </a:cubicBezTo>
                <a:cubicBezTo>
                  <a:pt x="225" y="179"/>
                  <a:pt x="224" y="177"/>
                  <a:pt x="223" y="177"/>
                </a:cubicBezTo>
                <a:cubicBezTo>
                  <a:pt x="223" y="176"/>
                  <a:pt x="222" y="175"/>
                  <a:pt x="223" y="175"/>
                </a:cubicBezTo>
                <a:cubicBezTo>
                  <a:pt x="223" y="175"/>
                  <a:pt x="222" y="175"/>
                  <a:pt x="222" y="174"/>
                </a:cubicBezTo>
                <a:cubicBezTo>
                  <a:pt x="222" y="174"/>
                  <a:pt x="222" y="173"/>
                  <a:pt x="221" y="173"/>
                </a:cubicBezTo>
                <a:cubicBezTo>
                  <a:pt x="221" y="172"/>
                  <a:pt x="221" y="172"/>
                  <a:pt x="222" y="171"/>
                </a:cubicBezTo>
                <a:cubicBezTo>
                  <a:pt x="222" y="170"/>
                  <a:pt x="221" y="170"/>
                  <a:pt x="221" y="170"/>
                </a:cubicBezTo>
                <a:cubicBezTo>
                  <a:pt x="221" y="169"/>
                  <a:pt x="221" y="169"/>
                  <a:pt x="221" y="169"/>
                </a:cubicBezTo>
                <a:cubicBezTo>
                  <a:pt x="221" y="168"/>
                  <a:pt x="222" y="168"/>
                  <a:pt x="222" y="168"/>
                </a:cubicBezTo>
                <a:cubicBezTo>
                  <a:pt x="222" y="168"/>
                  <a:pt x="222" y="168"/>
                  <a:pt x="222" y="167"/>
                </a:cubicBezTo>
                <a:cubicBezTo>
                  <a:pt x="222" y="167"/>
                  <a:pt x="223" y="167"/>
                  <a:pt x="222" y="166"/>
                </a:cubicBezTo>
                <a:cubicBezTo>
                  <a:pt x="222" y="166"/>
                  <a:pt x="222" y="165"/>
                  <a:pt x="222" y="164"/>
                </a:cubicBezTo>
                <a:cubicBezTo>
                  <a:pt x="221" y="163"/>
                  <a:pt x="222" y="162"/>
                  <a:pt x="222" y="161"/>
                </a:cubicBezTo>
                <a:cubicBezTo>
                  <a:pt x="221" y="161"/>
                  <a:pt x="221" y="161"/>
                  <a:pt x="221" y="160"/>
                </a:cubicBezTo>
                <a:cubicBezTo>
                  <a:pt x="220" y="160"/>
                  <a:pt x="220" y="159"/>
                  <a:pt x="220" y="159"/>
                </a:cubicBezTo>
                <a:cubicBezTo>
                  <a:pt x="220" y="158"/>
                  <a:pt x="219" y="157"/>
                  <a:pt x="219" y="157"/>
                </a:cubicBezTo>
                <a:cubicBezTo>
                  <a:pt x="217" y="157"/>
                  <a:pt x="218" y="159"/>
                  <a:pt x="217" y="157"/>
                </a:cubicBezTo>
                <a:cubicBezTo>
                  <a:pt x="216" y="157"/>
                  <a:pt x="217" y="158"/>
                  <a:pt x="216" y="159"/>
                </a:cubicBezTo>
                <a:cubicBezTo>
                  <a:pt x="216" y="159"/>
                  <a:pt x="216" y="159"/>
                  <a:pt x="215" y="159"/>
                </a:cubicBezTo>
                <a:cubicBezTo>
                  <a:pt x="215" y="159"/>
                  <a:pt x="216" y="160"/>
                  <a:pt x="215" y="160"/>
                </a:cubicBezTo>
                <a:cubicBezTo>
                  <a:pt x="214" y="160"/>
                  <a:pt x="214" y="160"/>
                  <a:pt x="214" y="158"/>
                </a:cubicBezTo>
                <a:cubicBezTo>
                  <a:pt x="214" y="158"/>
                  <a:pt x="213" y="158"/>
                  <a:pt x="213" y="158"/>
                </a:cubicBezTo>
                <a:cubicBezTo>
                  <a:pt x="213" y="157"/>
                  <a:pt x="214" y="157"/>
                  <a:pt x="214" y="157"/>
                </a:cubicBezTo>
                <a:cubicBezTo>
                  <a:pt x="214" y="157"/>
                  <a:pt x="212" y="155"/>
                  <a:pt x="214" y="154"/>
                </a:cubicBezTo>
                <a:cubicBezTo>
                  <a:pt x="213" y="153"/>
                  <a:pt x="212" y="153"/>
                  <a:pt x="213" y="151"/>
                </a:cubicBezTo>
                <a:cubicBezTo>
                  <a:pt x="212" y="151"/>
                  <a:pt x="212" y="152"/>
                  <a:pt x="212" y="152"/>
                </a:cubicBezTo>
                <a:cubicBezTo>
                  <a:pt x="211" y="152"/>
                  <a:pt x="212" y="150"/>
                  <a:pt x="211" y="149"/>
                </a:cubicBezTo>
                <a:cubicBezTo>
                  <a:pt x="211" y="149"/>
                  <a:pt x="211" y="149"/>
                  <a:pt x="210" y="148"/>
                </a:cubicBezTo>
                <a:cubicBezTo>
                  <a:pt x="210" y="148"/>
                  <a:pt x="210" y="147"/>
                  <a:pt x="210" y="147"/>
                </a:cubicBezTo>
                <a:cubicBezTo>
                  <a:pt x="210" y="147"/>
                  <a:pt x="208" y="147"/>
                  <a:pt x="208" y="146"/>
                </a:cubicBezTo>
                <a:cubicBezTo>
                  <a:pt x="207" y="146"/>
                  <a:pt x="206" y="147"/>
                  <a:pt x="206" y="147"/>
                </a:cubicBezTo>
                <a:cubicBezTo>
                  <a:pt x="205" y="147"/>
                  <a:pt x="204" y="147"/>
                  <a:pt x="204" y="148"/>
                </a:cubicBezTo>
                <a:cubicBezTo>
                  <a:pt x="203" y="148"/>
                  <a:pt x="202" y="148"/>
                  <a:pt x="201" y="148"/>
                </a:cubicBezTo>
                <a:cubicBezTo>
                  <a:pt x="201" y="148"/>
                  <a:pt x="200" y="148"/>
                  <a:pt x="200" y="149"/>
                </a:cubicBezTo>
                <a:cubicBezTo>
                  <a:pt x="200" y="149"/>
                  <a:pt x="200" y="149"/>
                  <a:pt x="200" y="149"/>
                </a:cubicBezTo>
                <a:cubicBezTo>
                  <a:pt x="200" y="150"/>
                  <a:pt x="199" y="150"/>
                  <a:pt x="198" y="150"/>
                </a:cubicBezTo>
                <a:cubicBezTo>
                  <a:pt x="197" y="151"/>
                  <a:pt x="196" y="153"/>
                  <a:pt x="194" y="153"/>
                </a:cubicBezTo>
                <a:cubicBezTo>
                  <a:pt x="193" y="154"/>
                  <a:pt x="193" y="156"/>
                  <a:pt x="191" y="156"/>
                </a:cubicBezTo>
                <a:cubicBezTo>
                  <a:pt x="192" y="157"/>
                  <a:pt x="192" y="157"/>
                  <a:pt x="190" y="157"/>
                </a:cubicBezTo>
                <a:cubicBezTo>
                  <a:pt x="190" y="158"/>
                  <a:pt x="190" y="158"/>
                  <a:pt x="191" y="158"/>
                </a:cubicBezTo>
                <a:cubicBezTo>
                  <a:pt x="191" y="159"/>
                  <a:pt x="190" y="158"/>
                  <a:pt x="190" y="158"/>
                </a:cubicBezTo>
                <a:cubicBezTo>
                  <a:pt x="189" y="158"/>
                  <a:pt x="189" y="159"/>
                  <a:pt x="188" y="159"/>
                </a:cubicBezTo>
                <a:cubicBezTo>
                  <a:pt x="187" y="159"/>
                  <a:pt x="187" y="160"/>
                  <a:pt x="187" y="160"/>
                </a:cubicBezTo>
                <a:cubicBezTo>
                  <a:pt x="186" y="161"/>
                  <a:pt x="187" y="161"/>
                  <a:pt x="187" y="161"/>
                </a:cubicBezTo>
                <a:cubicBezTo>
                  <a:pt x="187" y="162"/>
                  <a:pt x="186" y="163"/>
                  <a:pt x="186" y="165"/>
                </a:cubicBezTo>
                <a:cubicBezTo>
                  <a:pt x="186" y="167"/>
                  <a:pt x="186" y="169"/>
                  <a:pt x="186" y="170"/>
                </a:cubicBezTo>
                <a:cubicBezTo>
                  <a:pt x="186" y="170"/>
                  <a:pt x="185" y="170"/>
                  <a:pt x="185" y="170"/>
                </a:cubicBezTo>
                <a:cubicBezTo>
                  <a:pt x="184" y="170"/>
                  <a:pt x="185" y="172"/>
                  <a:pt x="184" y="172"/>
                </a:cubicBezTo>
                <a:cubicBezTo>
                  <a:pt x="184" y="172"/>
                  <a:pt x="183" y="172"/>
                  <a:pt x="182" y="172"/>
                </a:cubicBezTo>
                <a:cubicBezTo>
                  <a:pt x="182" y="173"/>
                  <a:pt x="182" y="174"/>
                  <a:pt x="181" y="173"/>
                </a:cubicBezTo>
                <a:cubicBezTo>
                  <a:pt x="180" y="172"/>
                  <a:pt x="179" y="171"/>
                  <a:pt x="179" y="169"/>
                </a:cubicBezTo>
                <a:cubicBezTo>
                  <a:pt x="178" y="168"/>
                  <a:pt x="178" y="168"/>
                  <a:pt x="178" y="168"/>
                </a:cubicBezTo>
                <a:cubicBezTo>
                  <a:pt x="177" y="168"/>
                  <a:pt x="177" y="167"/>
                  <a:pt x="177" y="167"/>
                </a:cubicBezTo>
                <a:cubicBezTo>
                  <a:pt x="176" y="166"/>
                  <a:pt x="177" y="166"/>
                  <a:pt x="178" y="165"/>
                </a:cubicBezTo>
                <a:cubicBezTo>
                  <a:pt x="178" y="164"/>
                  <a:pt x="177" y="164"/>
                  <a:pt x="176" y="163"/>
                </a:cubicBezTo>
                <a:cubicBezTo>
                  <a:pt x="176" y="163"/>
                  <a:pt x="176" y="162"/>
                  <a:pt x="175" y="162"/>
                </a:cubicBezTo>
                <a:cubicBezTo>
                  <a:pt x="175" y="161"/>
                  <a:pt x="175" y="160"/>
                  <a:pt x="174" y="159"/>
                </a:cubicBezTo>
                <a:cubicBezTo>
                  <a:pt x="173" y="158"/>
                  <a:pt x="173" y="155"/>
                  <a:pt x="173" y="152"/>
                </a:cubicBezTo>
                <a:cubicBezTo>
                  <a:pt x="173" y="151"/>
                  <a:pt x="173" y="149"/>
                  <a:pt x="172" y="147"/>
                </a:cubicBezTo>
                <a:cubicBezTo>
                  <a:pt x="171" y="147"/>
                  <a:pt x="170" y="149"/>
                  <a:pt x="171" y="149"/>
                </a:cubicBezTo>
                <a:cubicBezTo>
                  <a:pt x="171" y="150"/>
                  <a:pt x="169" y="149"/>
                  <a:pt x="169" y="149"/>
                </a:cubicBezTo>
                <a:cubicBezTo>
                  <a:pt x="169" y="149"/>
                  <a:pt x="168" y="149"/>
                  <a:pt x="168" y="149"/>
                </a:cubicBezTo>
                <a:cubicBezTo>
                  <a:pt x="167" y="149"/>
                  <a:pt x="167" y="147"/>
                  <a:pt x="166" y="148"/>
                </a:cubicBezTo>
                <a:cubicBezTo>
                  <a:pt x="166" y="147"/>
                  <a:pt x="166" y="147"/>
                  <a:pt x="167" y="147"/>
                </a:cubicBezTo>
                <a:cubicBezTo>
                  <a:pt x="166" y="146"/>
                  <a:pt x="167" y="146"/>
                  <a:pt x="167" y="145"/>
                </a:cubicBezTo>
                <a:cubicBezTo>
                  <a:pt x="167" y="145"/>
                  <a:pt x="166" y="145"/>
                  <a:pt x="165" y="145"/>
                </a:cubicBezTo>
                <a:cubicBezTo>
                  <a:pt x="165" y="145"/>
                  <a:pt x="164" y="143"/>
                  <a:pt x="164" y="144"/>
                </a:cubicBezTo>
                <a:cubicBezTo>
                  <a:pt x="163" y="144"/>
                  <a:pt x="163" y="142"/>
                  <a:pt x="163" y="143"/>
                </a:cubicBezTo>
                <a:cubicBezTo>
                  <a:pt x="163" y="142"/>
                  <a:pt x="162" y="142"/>
                  <a:pt x="162" y="141"/>
                </a:cubicBezTo>
                <a:cubicBezTo>
                  <a:pt x="162" y="141"/>
                  <a:pt x="161" y="141"/>
                  <a:pt x="160" y="141"/>
                </a:cubicBezTo>
                <a:cubicBezTo>
                  <a:pt x="160" y="141"/>
                  <a:pt x="161" y="140"/>
                  <a:pt x="160" y="140"/>
                </a:cubicBezTo>
                <a:cubicBezTo>
                  <a:pt x="159" y="140"/>
                  <a:pt x="158" y="141"/>
                  <a:pt x="158" y="141"/>
                </a:cubicBezTo>
                <a:cubicBezTo>
                  <a:pt x="157" y="141"/>
                  <a:pt x="157" y="141"/>
                  <a:pt x="157" y="141"/>
                </a:cubicBezTo>
                <a:cubicBezTo>
                  <a:pt x="156" y="141"/>
                  <a:pt x="156" y="140"/>
                  <a:pt x="156" y="141"/>
                </a:cubicBezTo>
                <a:cubicBezTo>
                  <a:pt x="151" y="141"/>
                  <a:pt x="148" y="141"/>
                  <a:pt x="145" y="140"/>
                </a:cubicBezTo>
                <a:cubicBezTo>
                  <a:pt x="145" y="139"/>
                  <a:pt x="144" y="140"/>
                  <a:pt x="144" y="139"/>
                </a:cubicBezTo>
                <a:cubicBezTo>
                  <a:pt x="144" y="138"/>
                  <a:pt x="141" y="140"/>
                  <a:pt x="143" y="138"/>
                </a:cubicBezTo>
                <a:cubicBezTo>
                  <a:pt x="142" y="138"/>
                  <a:pt x="142" y="138"/>
                  <a:pt x="142" y="137"/>
                </a:cubicBezTo>
                <a:cubicBezTo>
                  <a:pt x="141" y="138"/>
                  <a:pt x="137" y="137"/>
                  <a:pt x="136" y="137"/>
                </a:cubicBezTo>
                <a:cubicBezTo>
                  <a:pt x="135" y="137"/>
                  <a:pt x="135" y="137"/>
                  <a:pt x="135" y="136"/>
                </a:cubicBezTo>
                <a:cubicBezTo>
                  <a:pt x="133" y="137"/>
                  <a:pt x="133" y="134"/>
                  <a:pt x="131" y="135"/>
                </a:cubicBezTo>
                <a:cubicBezTo>
                  <a:pt x="131" y="133"/>
                  <a:pt x="130" y="132"/>
                  <a:pt x="130" y="130"/>
                </a:cubicBezTo>
                <a:cubicBezTo>
                  <a:pt x="126" y="130"/>
                  <a:pt x="126" y="132"/>
                  <a:pt x="126" y="134"/>
                </a:cubicBezTo>
                <a:cubicBezTo>
                  <a:pt x="126" y="135"/>
                  <a:pt x="128" y="136"/>
                  <a:pt x="129" y="137"/>
                </a:cubicBezTo>
                <a:cubicBezTo>
                  <a:pt x="129" y="138"/>
                  <a:pt x="130" y="140"/>
                  <a:pt x="131" y="140"/>
                </a:cubicBezTo>
                <a:cubicBezTo>
                  <a:pt x="131" y="141"/>
                  <a:pt x="132" y="141"/>
                  <a:pt x="132" y="142"/>
                </a:cubicBezTo>
                <a:cubicBezTo>
                  <a:pt x="133" y="142"/>
                  <a:pt x="136" y="142"/>
                  <a:pt x="134" y="143"/>
                </a:cubicBezTo>
                <a:cubicBezTo>
                  <a:pt x="135" y="143"/>
                  <a:pt x="135" y="142"/>
                  <a:pt x="135" y="142"/>
                </a:cubicBezTo>
                <a:cubicBezTo>
                  <a:pt x="136" y="142"/>
                  <a:pt x="137" y="142"/>
                  <a:pt x="137" y="141"/>
                </a:cubicBezTo>
                <a:cubicBezTo>
                  <a:pt x="137" y="141"/>
                  <a:pt x="138" y="141"/>
                  <a:pt x="138" y="141"/>
                </a:cubicBezTo>
                <a:cubicBezTo>
                  <a:pt x="139" y="141"/>
                  <a:pt x="138" y="140"/>
                  <a:pt x="138" y="140"/>
                </a:cubicBezTo>
                <a:cubicBezTo>
                  <a:pt x="139" y="139"/>
                  <a:pt x="140" y="140"/>
                  <a:pt x="141" y="139"/>
                </a:cubicBezTo>
                <a:cubicBezTo>
                  <a:pt x="141" y="139"/>
                  <a:pt x="141" y="140"/>
                  <a:pt x="141" y="140"/>
                </a:cubicBezTo>
                <a:cubicBezTo>
                  <a:pt x="141" y="140"/>
                  <a:pt x="142" y="140"/>
                  <a:pt x="142" y="140"/>
                </a:cubicBezTo>
                <a:cubicBezTo>
                  <a:pt x="142" y="141"/>
                  <a:pt x="142" y="142"/>
                  <a:pt x="142" y="142"/>
                </a:cubicBezTo>
                <a:cubicBezTo>
                  <a:pt x="142" y="143"/>
                  <a:pt x="144" y="143"/>
                  <a:pt x="144" y="143"/>
                </a:cubicBezTo>
                <a:cubicBezTo>
                  <a:pt x="144" y="145"/>
                  <a:pt x="145" y="144"/>
                  <a:pt x="145" y="144"/>
                </a:cubicBezTo>
                <a:cubicBezTo>
                  <a:pt x="146" y="145"/>
                  <a:pt x="146" y="146"/>
                  <a:pt x="147" y="146"/>
                </a:cubicBezTo>
                <a:cubicBezTo>
                  <a:pt x="146" y="147"/>
                  <a:pt x="147" y="148"/>
                  <a:pt x="147" y="150"/>
                </a:cubicBezTo>
                <a:cubicBezTo>
                  <a:pt x="146" y="150"/>
                  <a:pt x="146" y="150"/>
                  <a:pt x="145" y="150"/>
                </a:cubicBezTo>
                <a:cubicBezTo>
                  <a:pt x="146" y="151"/>
                  <a:pt x="144" y="151"/>
                  <a:pt x="145" y="152"/>
                </a:cubicBezTo>
                <a:cubicBezTo>
                  <a:pt x="144" y="152"/>
                  <a:pt x="143" y="152"/>
                  <a:pt x="143" y="153"/>
                </a:cubicBezTo>
                <a:cubicBezTo>
                  <a:pt x="143" y="153"/>
                  <a:pt x="142" y="153"/>
                  <a:pt x="141" y="153"/>
                </a:cubicBezTo>
                <a:cubicBezTo>
                  <a:pt x="141" y="153"/>
                  <a:pt x="141" y="154"/>
                  <a:pt x="141" y="155"/>
                </a:cubicBezTo>
                <a:cubicBezTo>
                  <a:pt x="141" y="155"/>
                  <a:pt x="140" y="155"/>
                  <a:pt x="140" y="155"/>
                </a:cubicBezTo>
                <a:cubicBezTo>
                  <a:pt x="140" y="155"/>
                  <a:pt x="140" y="156"/>
                  <a:pt x="140" y="156"/>
                </a:cubicBezTo>
                <a:cubicBezTo>
                  <a:pt x="139" y="156"/>
                  <a:pt x="138" y="156"/>
                  <a:pt x="138" y="157"/>
                </a:cubicBezTo>
                <a:cubicBezTo>
                  <a:pt x="138" y="157"/>
                  <a:pt x="137" y="157"/>
                  <a:pt x="137" y="157"/>
                </a:cubicBezTo>
                <a:cubicBezTo>
                  <a:pt x="136" y="158"/>
                  <a:pt x="136" y="158"/>
                  <a:pt x="135" y="158"/>
                </a:cubicBezTo>
                <a:cubicBezTo>
                  <a:pt x="134" y="159"/>
                  <a:pt x="132" y="159"/>
                  <a:pt x="132" y="161"/>
                </a:cubicBezTo>
                <a:cubicBezTo>
                  <a:pt x="131" y="161"/>
                  <a:pt x="131" y="161"/>
                  <a:pt x="130" y="161"/>
                </a:cubicBezTo>
                <a:cubicBezTo>
                  <a:pt x="130" y="161"/>
                  <a:pt x="130" y="161"/>
                  <a:pt x="130" y="162"/>
                </a:cubicBezTo>
                <a:cubicBezTo>
                  <a:pt x="129" y="162"/>
                  <a:pt x="129" y="162"/>
                  <a:pt x="129" y="162"/>
                </a:cubicBezTo>
                <a:cubicBezTo>
                  <a:pt x="129" y="162"/>
                  <a:pt x="127" y="162"/>
                  <a:pt x="127" y="162"/>
                </a:cubicBezTo>
                <a:cubicBezTo>
                  <a:pt x="127" y="163"/>
                  <a:pt x="123" y="163"/>
                  <a:pt x="121" y="164"/>
                </a:cubicBezTo>
                <a:cubicBezTo>
                  <a:pt x="120" y="164"/>
                  <a:pt x="122" y="164"/>
                  <a:pt x="120" y="164"/>
                </a:cubicBezTo>
                <a:cubicBezTo>
                  <a:pt x="120" y="165"/>
                  <a:pt x="120" y="164"/>
                  <a:pt x="119" y="164"/>
                </a:cubicBezTo>
                <a:cubicBezTo>
                  <a:pt x="119" y="165"/>
                  <a:pt x="119" y="166"/>
                  <a:pt x="118" y="165"/>
                </a:cubicBezTo>
                <a:cubicBezTo>
                  <a:pt x="118" y="164"/>
                  <a:pt x="117" y="165"/>
                  <a:pt x="117" y="164"/>
                </a:cubicBezTo>
                <a:cubicBezTo>
                  <a:pt x="117" y="164"/>
                  <a:pt x="117" y="163"/>
                  <a:pt x="116" y="163"/>
                </a:cubicBezTo>
                <a:cubicBezTo>
                  <a:pt x="116" y="162"/>
                  <a:pt x="117" y="162"/>
                  <a:pt x="117" y="161"/>
                </a:cubicBezTo>
                <a:cubicBezTo>
                  <a:pt x="116" y="161"/>
                  <a:pt x="115" y="161"/>
                  <a:pt x="116" y="160"/>
                </a:cubicBezTo>
                <a:cubicBezTo>
                  <a:pt x="116" y="160"/>
                  <a:pt x="115" y="159"/>
                  <a:pt x="115" y="159"/>
                </a:cubicBezTo>
                <a:cubicBezTo>
                  <a:pt x="115" y="158"/>
                  <a:pt x="114" y="157"/>
                  <a:pt x="115" y="157"/>
                </a:cubicBezTo>
                <a:cubicBezTo>
                  <a:pt x="115" y="156"/>
                  <a:pt x="114" y="156"/>
                  <a:pt x="114" y="156"/>
                </a:cubicBezTo>
                <a:cubicBezTo>
                  <a:pt x="113" y="156"/>
                  <a:pt x="114" y="154"/>
                  <a:pt x="114" y="155"/>
                </a:cubicBezTo>
                <a:cubicBezTo>
                  <a:pt x="114" y="154"/>
                  <a:pt x="113" y="154"/>
                  <a:pt x="113" y="154"/>
                </a:cubicBezTo>
                <a:cubicBezTo>
                  <a:pt x="113" y="154"/>
                  <a:pt x="113" y="153"/>
                  <a:pt x="112" y="153"/>
                </a:cubicBezTo>
                <a:cubicBezTo>
                  <a:pt x="112" y="153"/>
                  <a:pt x="112" y="152"/>
                  <a:pt x="111" y="152"/>
                </a:cubicBezTo>
                <a:cubicBezTo>
                  <a:pt x="111" y="152"/>
                  <a:pt x="111" y="152"/>
                  <a:pt x="111" y="152"/>
                </a:cubicBezTo>
                <a:cubicBezTo>
                  <a:pt x="110" y="152"/>
                  <a:pt x="111" y="150"/>
                  <a:pt x="109" y="150"/>
                </a:cubicBezTo>
                <a:cubicBezTo>
                  <a:pt x="110" y="148"/>
                  <a:pt x="108" y="148"/>
                  <a:pt x="108" y="145"/>
                </a:cubicBezTo>
                <a:cubicBezTo>
                  <a:pt x="108" y="145"/>
                  <a:pt x="107" y="145"/>
                  <a:pt x="107" y="144"/>
                </a:cubicBezTo>
                <a:cubicBezTo>
                  <a:pt x="107" y="144"/>
                  <a:pt x="106" y="144"/>
                  <a:pt x="105" y="143"/>
                </a:cubicBezTo>
                <a:cubicBezTo>
                  <a:pt x="106" y="143"/>
                  <a:pt x="106" y="143"/>
                  <a:pt x="105" y="143"/>
                </a:cubicBezTo>
                <a:cubicBezTo>
                  <a:pt x="106" y="142"/>
                  <a:pt x="105" y="142"/>
                  <a:pt x="105" y="140"/>
                </a:cubicBezTo>
                <a:cubicBezTo>
                  <a:pt x="105" y="140"/>
                  <a:pt x="105" y="139"/>
                  <a:pt x="105" y="139"/>
                </a:cubicBezTo>
                <a:cubicBezTo>
                  <a:pt x="105" y="139"/>
                  <a:pt x="104" y="139"/>
                  <a:pt x="104" y="139"/>
                </a:cubicBezTo>
                <a:cubicBezTo>
                  <a:pt x="104" y="138"/>
                  <a:pt x="105" y="138"/>
                  <a:pt x="104" y="137"/>
                </a:cubicBezTo>
                <a:cubicBezTo>
                  <a:pt x="104" y="137"/>
                  <a:pt x="104" y="140"/>
                  <a:pt x="103" y="137"/>
                </a:cubicBezTo>
                <a:cubicBezTo>
                  <a:pt x="103" y="136"/>
                  <a:pt x="102" y="134"/>
                  <a:pt x="100" y="133"/>
                </a:cubicBezTo>
                <a:cubicBezTo>
                  <a:pt x="99" y="134"/>
                  <a:pt x="100" y="134"/>
                  <a:pt x="99" y="136"/>
                </a:cubicBezTo>
                <a:cubicBezTo>
                  <a:pt x="98" y="136"/>
                  <a:pt x="99" y="135"/>
                  <a:pt x="98" y="135"/>
                </a:cubicBezTo>
                <a:cubicBezTo>
                  <a:pt x="97" y="135"/>
                  <a:pt x="97" y="134"/>
                  <a:pt x="96" y="134"/>
                </a:cubicBezTo>
                <a:cubicBezTo>
                  <a:pt x="97" y="135"/>
                  <a:pt x="97" y="137"/>
                  <a:pt x="98" y="137"/>
                </a:cubicBezTo>
                <a:cubicBezTo>
                  <a:pt x="98" y="138"/>
                  <a:pt x="99" y="139"/>
                  <a:pt x="99" y="141"/>
                </a:cubicBezTo>
                <a:cubicBezTo>
                  <a:pt x="99" y="141"/>
                  <a:pt x="99" y="142"/>
                  <a:pt x="99" y="142"/>
                </a:cubicBezTo>
                <a:cubicBezTo>
                  <a:pt x="100" y="143"/>
                  <a:pt x="100" y="145"/>
                  <a:pt x="101" y="146"/>
                </a:cubicBezTo>
                <a:cubicBezTo>
                  <a:pt x="101" y="146"/>
                  <a:pt x="102" y="146"/>
                  <a:pt x="103" y="146"/>
                </a:cubicBezTo>
                <a:cubicBezTo>
                  <a:pt x="102" y="146"/>
                  <a:pt x="102" y="147"/>
                  <a:pt x="102" y="147"/>
                </a:cubicBezTo>
                <a:cubicBezTo>
                  <a:pt x="103" y="147"/>
                  <a:pt x="103" y="147"/>
                  <a:pt x="103" y="147"/>
                </a:cubicBezTo>
                <a:cubicBezTo>
                  <a:pt x="104" y="147"/>
                  <a:pt x="103" y="148"/>
                  <a:pt x="104" y="149"/>
                </a:cubicBezTo>
                <a:cubicBezTo>
                  <a:pt x="104" y="149"/>
                  <a:pt x="105" y="149"/>
                  <a:pt x="105" y="150"/>
                </a:cubicBezTo>
                <a:cubicBezTo>
                  <a:pt x="105" y="150"/>
                  <a:pt x="105" y="150"/>
                  <a:pt x="105" y="150"/>
                </a:cubicBezTo>
                <a:cubicBezTo>
                  <a:pt x="105" y="151"/>
                  <a:pt x="105" y="150"/>
                  <a:pt x="105" y="150"/>
                </a:cubicBezTo>
                <a:cubicBezTo>
                  <a:pt x="106" y="151"/>
                  <a:pt x="105" y="151"/>
                  <a:pt x="105" y="151"/>
                </a:cubicBezTo>
                <a:cubicBezTo>
                  <a:pt x="105" y="152"/>
                  <a:pt x="106" y="152"/>
                  <a:pt x="106" y="152"/>
                </a:cubicBezTo>
                <a:cubicBezTo>
                  <a:pt x="106" y="153"/>
                  <a:pt x="106" y="153"/>
                  <a:pt x="106" y="153"/>
                </a:cubicBezTo>
                <a:cubicBezTo>
                  <a:pt x="106" y="153"/>
                  <a:pt x="106" y="153"/>
                  <a:pt x="106" y="153"/>
                </a:cubicBezTo>
                <a:cubicBezTo>
                  <a:pt x="106" y="154"/>
                  <a:pt x="106" y="156"/>
                  <a:pt x="107" y="155"/>
                </a:cubicBezTo>
                <a:cubicBezTo>
                  <a:pt x="107" y="156"/>
                  <a:pt x="107" y="157"/>
                  <a:pt x="108" y="158"/>
                </a:cubicBezTo>
                <a:cubicBezTo>
                  <a:pt x="108" y="158"/>
                  <a:pt x="108" y="159"/>
                  <a:pt x="109" y="159"/>
                </a:cubicBezTo>
                <a:cubicBezTo>
                  <a:pt x="109" y="159"/>
                  <a:pt x="109" y="160"/>
                  <a:pt x="109" y="160"/>
                </a:cubicBezTo>
                <a:cubicBezTo>
                  <a:pt x="109" y="161"/>
                  <a:pt x="110" y="161"/>
                  <a:pt x="110" y="161"/>
                </a:cubicBezTo>
                <a:cubicBezTo>
                  <a:pt x="110" y="161"/>
                  <a:pt x="110" y="162"/>
                  <a:pt x="110" y="162"/>
                </a:cubicBezTo>
                <a:cubicBezTo>
                  <a:pt x="111" y="162"/>
                  <a:pt x="111" y="163"/>
                  <a:pt x="111" y="164"/>
                </a:cubicBezTo>
                <a:cubicBezTo>
                  <a:pt x="113" y="163"/>
                  <a:pt x="112" y="165"/>
                  <a:pt x="115" y="164"/>
                </a:cubicBezTo>
                <a:cubicBezTo>
                  <a:pt x="115" y="166"/>
                  <a:pt x="116" y="166"/>
                  <a:pt x="116" y="168"/>
                </a:cubicBezTo>
                <a:cubicBezTo>
                  <a:pt x="117" y="170"/>
                  <a:pt x="123" y="170"/>
                  <a:pt x="126" y="169"/>
                </a:cubicBezTo>
                <a:cubicBezTo>
                  <a:pt x="127" y="169"/>
                  <a:pt x="127" y="168"/>
                  <a:pt x="127" y="168"/>
                </a:cubicBezTo>
                <a:cubicBezTo>
                  <a:pt x="128" y="168"/>
                  <a:pt x="130" y="169"/>
                  <a:pt x="130" y="167"/>
                </a:cubicBezTo>
                <a:cubicBezTo>
                  <a:pt x="131" y="168"/>
                  <a:pt x="130" y="169"/>
                  <a:pt x="130" y="170"/>
                </a:cubicBezTo>
                <a:cubicBezTo>
                  <a:pt x="130" y="170"/>
                  <a:pt x="130" y="170"/>
                  <a:pt x="130" y="170"/>
                </a:cubicBezTo>
                <a:cubicBezTo>
                  <a:pt x="129" y="171"/>
                  <a:pt x="130" y="172"/>
                  <a:pt x="130" y="173"/>
                </a:cubicBezTo>
                <a:cubicBezTo>
                  <a:pt x="130" y="173"/>
                  <a:pt x="129" y="173"/>
                  <a:pt x="129" y="173"/>
                </a:cubicBezTo>
                <a:cubicBezTo>
                  <a:pt x="129" y="173"/>
                  <a:pt x="129" y="175"/>
                  <a:pt x="128" y="176"/>
                </a:cubicBezTo>
                <a:cubicBezTo>
                  <a:pt x="128" y="176"/>
                  <a:pt x="127" y="176"/>
                  <a:pt x="127" y="178"/>
                </a:cubicBezTo>
                <a:cubicBezTo>
                  <a:pt x="126" y="178"/>
                  <a:pt x="127" y="181"/>
                  <a:pt x="125" y="180"/>
                </a:cubicBezTo>
                <a:cubicBezTo>
                  <a:pt x="125" y="182"/>
                  <a:pt x="124" y="182"/>
                  <a:pt x="124" y="183"/>
                </a:cubicBezTo>
                <a:cubicBezTo>
                  <a:pt x="123" y="183"/>
                  <a:pt x="124" y="185"/>
                  <a:pt x="122" y="185"/>
                </a:cubicBezTo>
                <a:cubicBezTo>
                  <a:pt x="122" y="185"/>
                  <a:pt x="122" y="185"/>
                  <a:pt x="122" y="186"/>
                </a:cubicBezTo>
                <a:cubicBezTo>
                  <a:pt x="122" y="186"/>
                  <a:pt x="122" y="185"/>
                  <a:pt x="121" y="185"/>
                </a:cubicBezTo>
                <a:cubicBezTo>
                  <a:pt x="120" y="186"/>
                  <a:pt x="121" y="186"/>
                  <a:pt x="119" y="187"/>
                </a:cubicBezTo>
                <a:cubicBezTo>
                  <a:pt x="119" y="187"/>
                  <a:pt x="118" y="187"/>
                  <a:pt x="118" y="187"/>
                </a:cubicBezTo>
                <a:cubicBezTo>
                  <a:pt x="118" y="187"/>
                  <a:pt x="118" y="188"/>
                  <a:pt x="118" y="188"/>
                </a:cubicBezTo>
                <a:cubicBezTo>
                  <a:pt x="117" y="188"/>
                  <a:pt x="117" y="188"/>
                  <a:pt x="116" y="189"/>
                </a:cubicBezTo>
                <a:cubicBezTo>
                  <a:pt x="115" y="190"/>
                  <a:pt x="114" y="191"/>
                  <a:pt x="113" y="191"/>
                </a:cubicBezTo>
                <a:cubicBezTo>
                  <a:pt x="113" y="192"/>
                  <a:pt x="112" y="192"/>
                  <a:pt x="112" y="193"/>
                </a:cubicBezTo>
                <a:cubicBezTo>
                  <a:pt x="112" y="194"/>
                  <a:pt x="112" y="194"/>
                  <a:pt x="111" y="193"/>
                </a:cubicBezTo>
                <a:cubicBezTo>
                  <a:pt x="111" y="194"/>
                  <a:pt x="110" y="195"/>
                  <a:pt x="110" y="195"/>
                </a:cubicBezTo>
                <a:cubicBezTo>
                  <a:pt x="111" y="196"/>
                  <a:pt x="110" y="195"/>
                  <a:pt x="110" y="196"/>
                </a:cubicBezTo>
                <a:cubicBezTo>
                  <a:pt x="110" y="197"/>
                  <a:pt x="109" y="196"/>
                  <a:pt x="109" y="197"/>
                </a:cubicBezTo>
                <a:cubicBezTo>
                  <a:pt x="109" y="197"/>
                  <a:pt x="109" y="197"/>
                  <a:pt x="109" y="198"/>
                </a:cubicBezTo>
                <a:cubicBezTo>
                  <a:pt x="109" y="198"/>
                  <a:pt x="108" y="202"/>
                  <a:pt x="108" y="203"/>
                </a:cubicBezTo>
                <a:cubicBezTo>
                  <a:pt x="108" y="204"/>
                  <a:pt x="109" y="204"/>
                  <a:pt x="109" y="205"/>
                </a:cubicBezTo>
                <a:cubicBezTo>
                  <a:pt x="109" y="206"/>
                  <a:pt x="109" y="206"/>
                  <a:pt x="109" y="207"/>
                </a:cubicBezTo>
                <a:cubicBezTo>
                  <a:pt x="109" y="208"/>
                  <a:pt x="110" y="209"/>
                  <a:pt x="110" y="209"/>
                </a:cubicBezTo>
                <a:cubicBezTo>
                  <a:pt x="111" y="209"/>
                  <a:pt x="109" y="211"/>
                  <a:pt x="111" y="212"/>
                </a:cubicBezTo>
                <a:cubicBezTo>
                  <a:pt x="111" y="214"/>
                  <a:pt x="111" y="216"/>
                  <a:pt x="111" y="218"/>
                </a:cubicBezTo>
                <a:cubicBezTo>
                  <a:pt x="111" y="219"/>
                  <a:pt x="109" y="220"/>
                  <a:pt x="110" y="221"/>
                </a:cubicBezTo>
                <a:cubicBezTo>
                  <a:pt x="108" y="221"/>
                  <a:pt x="107" y="223"/>
                  <a:pt x="106" y="223"/>
                </a:cubicBezTo>
                <a:cubicBezTo>
                  <a:pt x="106" y="224"/>
                  <a:pt x="106" y="224"/>
                  <a:pt x="106" y="224"/>
                </a:cubicBezTo>
                <a:cubicBezTo>
                  <a:pt x="106" y="224"/>
                  <a:pt x="105" y="224"/>
                  <a:pt x="105" y="224"/>
                </a:cubicBezTo>
                <a:cubicBezTo>
                  <a:pt x="104" y="224"/>
                  <a:pt x="105" y="225"/>
                  <a:pt x="104" y="225"/>
                </a:cubicBezTo>
                <a:cubicBezTo>
                  <a:pt x="104" y="225"/>
                  <a:pt x="104" y="224"/>
                  <a:pt x="103" y="225"/>
                </a:cubicBezTo>
                <a:cubicBezTo>
                  <a:pt x="103" y="226"/>
                  <a:pt x="103" y="225"/>
                  <a:pt x="103" y="226"/>
                </a:cubicBezTo>
                <a:cubicBezTo>
                  <a:pt x="102" y="226"/>
                  <a:pt x="102" y="227"/>
                  <a:pt x="101" y="227"/>
                </a:cubicBezTo>
                <a:cubicBezTo>
                  <a:pt x="100" y="230"/>
                  <a:pt x="101" y="233"/>
                  <a:pt x="101" y="237"/>
                </a:cubicBezTo>
                <a:cubicBezTo>
                  <a:pt x="101" y="238"/>
                  <a:pt x="100" y="238"/>
                  <a:pt x="100" y="237"/>
                </a:cubicBezTo>
                <a:cubicBezTo>
                  <a:pt x="100" y="237"/>
                  <a:pt x="100" y="238"/>
                  <a:pt x="100" y="238"/>
                </a:cubicBezTo>
                <a:cubicBezTo>
                  <a:pt x="99" y="239"/>
                  <a:pt x="98" y="238"/>
                  <a:pt x="98" y="239"/>
                </a:cubicBezTo>
                <a:cubicBezTo>
                  <a:pt x="98" y="239"/>
                  <a:pt x="96" y="239"/>
                  <a:pt x="96" y="240"/>
                </a:cubicBezTo>
                <a:cubicBezTo>
                  <a:pt x="96" y="241"/>
                  <a:pt x="96" y="242"/>
                  <a:pt x="96" y="243"/>
                </a:cubicBezTo>
                <a:cubicBezTo>
                  <a:pt x="95" y="243"/>
                  <a:pt x="95" y="245"/>
                  <a:pt x="95" y="245"/>
                </a:cubicBezTo>
                <a:cubicBezTo>
                  <a:pt x="95" y="245"/>
                  <a:pt x="94" y="246"/>
                  <a:pt x="94" y="246"/>
                </a:cubicBezTo>
                <a:cubicBezTo>
                  <a:pt x="94" y="246"/>
                  <a:pt x="94" y="247"/>
                  <a:pt x="93" y="248"/>
                </a:cubicBezTo>
                <a:cubicBezTo>
                  <a:pt x="93" y="248"/>
                  <a:pt x="93" y="249"/>
                  <a:pt x="93" y="249"/>
                </a:cubicBezTo>
                <a:cubicBezTo>
                  <a:pt x="93" y="249"/>
                  <a:pt x="92" y="249"/>
                  <a:pt x="92" y="249"/>
                </a:cubicBezTo>
                <a:cubicBezTo>
                  <a:pt x="92" y="249"/>
                  <a:pt x="93" y="250"/>
                  <a:pt x="92" y="250"/>
                </a:cubicBezTo>
                <a:cubicBezTo>
                  <a:pt x="92" y="251"/>
                  <a:pt x="92" y="250"/>
                  <a:pt x="91" y="250"/>
                </a:cubicBezTo>
                <a:cubicBezTo>
                  <a:pt x="91" y="250"/>
                  <a:pt x="92" y="251"/>
                  <a:pt x="91" y="251"/>
                </a:cubicBezTo>
                <a:cubicBezTo>
                  <a:pt x="91" y="251"/>
                  <a:pt x="91" y="251"/>
                  <a:pt x="90" y="251"/>
                </a:cubicBezTo>
                <a:cubicBezTo>
                  <a:pt x="90" y="252"/>
                  <a:pt x="90" y="252"/>
                  <a:pt x="89" y="253"/>
                </a:cubicBezTo>
                <a:cubicBezTo>
                  <a:pt x="89" y="253"/>
                  <a:pt x="89" y="253"/>
                  <a:pt x="89" y="253"/>
                </a:cubicBezTo>
                <a:cubicBezTo>
                  <a:pt x="88" y="253"/>
                  <a:pt x="89" y="254"/>
                  <a:pt x="89" y="254"/>
                </a:cubicBezTo>
                <a:cubicBezTo>
                  <a:pt x="88" y="254"/>
                  <a:pt x="88" y="254"/>
                  <a:pt x="88" y="254"/>
                </a:cubicBezTo>
                <a:cubicBezTo>
                  <a:pt x="87" y="254"/>
                  <a:pt x="87" y="255"/>
                  <a:pt x="87" y="255"/>
                </a:cubicBezTo>
                <a:cubicBezTo>
                  <a:pt x="87" y="255"/>
                  <a:pt x="86" y="256"/>
                  <a:pt x="86" y="256"/>
                </a:cubicBezTo>
                <a:cubicBezTo>
                  <a:pt x="86" y="256"/>
                  <a:pt x="84" y="256"/>
                  <a:pt x="84" y="256"/>
                </a:cubicBezTo>
                <a:cubicBezTo>
                  <a:pt x="84" y="256"/>
                  <a:pt x="84" y="256"/>
                  <a:pt x="83" y="256"/>
                </a:cubicBezTo>
                <a:cubicBezTo>
                  <a:pt x="83" y="257"/>
                  <a:pt x="82" y="257"/>
                  <a:pt x="82" y="257"/>
                </a:cubicBezTo>
                <a:cubicBezTo>
                  <a:pt x="81" y="257"/>
                  <a:pt x="78" y="258"/>
                  <a:pt x="77" y="257"/>
                </a:cubicBezTo>
                <a:cubicBezTo>
                  <a:pt x="77" y="257"/>
                  <a:pt x="77" y="257"/>
                  <a:pt x="77" y="257"/>
                </a:cubicBezTo>
                <a:cubicBezTo>
                  <a:pt x="77" y="258"/>
                  <a:pt x="76" y="258"/>
                  <a:pt x="74" y="258"/>
                </a:cubicBezTo>
                <a:cubicBezTo>
                  <a:pt x="74" y="258"/>
                  <a:pt x="74" y="258"/>
                  <a:pt x="74" y="258"/>
                </a:cubicBezTo>
                <a:cubicBezTo>
                  <a:pt x="74" y="259"/>
                  <a:pt x="71" y="258"/>
                  <a:pt x="70" y="258"/>
                </a:cubicBezTo>
                <a:cubicBezTo>
                  <a:pt x="70" y="255"/>
                  <a:pt x="68" y="254"/>
                  <a:pt x="69" y="252"/>
                </a:cubicBezTo>
                <a:cubicBezTo>
                  <a:pt x="68" y="251"/>
                  <a:pt x="67" y="251"/>
                  <a:pt x="67" y="248"/>
                </a:cubicBezTo>
                <a:cubicBezTo>
                  <a:pt x="66" y="250"/>
                  <a:pt x="67" y="249"/>
                  <a:pt x="66" y="247"/>
                </a:cubicBezTo>
                <a:cubicBezTo>
                  <a:pt x="66" y="245"/>
                  <a:pt x="63" y="243"/>
                  <a:pt x="63" y="241"/>
                </a:cubicBezTo>
                <a:cubicBezTo>
                  <a:pt x="63" y="240"/>
                  <a:pt x="63" y="241"/>
                  <a:pt x="63" y="241"/>
                </a:cubicBezTo>
                <a:cubicBezTo>
                  <a:pt x="62" y="241"/>
                  <a:pt x="63" y="238"/>
                  <a:pt x="62" y="240"/>
                </a:cubicBezTo>
                <a:cubicBezTo>
                  <a:pt x="61" y="239"/>
                  <a:pt x="61" y="237"/>
                  <a:pt x="61" y="236"/>
                </a:cubicBezTo>
                <a:cubicBezTo>
                  <a:pt x="62" y="235"/>
                  <a:pt x="62" y="234"/>
                  <a:pt x="61" y="232"/>
                </a:cubicBezTo>
                <a:cubicBezTo>
                  <a:pt x="61" y="231"/>
                  <a:pt x="60" y="232"/>
                  <a:pt x="60" y="232"/>
                </a:cubicBezTo>
                <a:cubicBezTo>
                  <a:pt x="59" y="231"/>
                  <a:pt x="61" y="230"/>
                  <a:pt x="59" y="231"/>
                </a:cubicBezTo>
                <a:cubicBezTo>
                  <a:pt x="59" y="230"/>
                  <a:pt x="59" y="230"/>
                  <a:pt x="59" y="229"/>
                </a:cubicBezTo>
                <a:cubicBezTo>
                  <a:pt x="59" y="229"/>
                  <a:pt x="58" y="229"/>
                  <a:pt x="58" y="229"/>
                </a:cubicBezTo>
                <a:cubicBezTo>
                  <a:pt x="58" y="229"/>
                  <a:pt x="59" y="227"/>
                  <a:pt x="57" y="228"/>
                </a:cubicBezTo>
                <a:cubicBezTo>
                  <a:pt x="57" y="227"/>
                  <a:pt x="58" y="227"/>
                  <a:pt x="58" y="226"/>
                </a:cubicBezTo>
                <a:cubicBezTo>
                  <a:pt x="57" y="226"/>
                  <a:pt x="58" y="224"/>
                  <a:pt x="56" y="224"/>
                </a:cubicBezTo>
                <a:cubicBezTo>
                  <a:pt x="56" y="220"/>
                  <a:pt x="57" y="218"/>
                  <a:pt x="59" y="216"/>
                </a:cubicBezTo>
                <a:cubicBezTo>
                  <a:pt x="58" y="215"/>
                  <a:pt x="59" y="213"/>
                  <a:pt x="58" y="213"/>
                </a:cubicBezTo>
                <a:cubicBezTo>
                  <a:pt x="58" y="213"/>
                  <a:pt x="59" y="213"/>
                  <a:pt x="60" y="213"/>
                </a:cubicBezTo>
                <a:cubicBezTo>
                  <a:pt x="60" y="213"/>
                  <a:pt x="59" y="212"/>
                  <a:pt x="60" y="212"/>
                </a:cubicBezTo>
                <a:cubicBezTo>
                  <a:pt x="60" y="211"/>
                  <a:pt x="60" y="207"/>
                  <a:pt x="59" y="208"/>
                </a:cubicBezTo>
                <a:cubicBezTo>
                  <a:pt x="58" y="207"/>
                  <a:pt x="59" y="206"/>
                  <a:pt x="59" y="206"/>
                </a:cubicBezTo>
                <a:cubicBezTo>
                  <a:pt x="59" y="204"/>
                  <a:pt x="59" y="203"/>
                  <a:pt x="59" y="202"/>
                </a:cubicBezTo>
                <a:cubicBezTo>
                  <a:pt x="59" y="202"/>
                  <a:pt x="58" y="202"/>
                  <a:pt x="58" y="202"/>
                </a:cubicBezTo>
                <a:cubicBezTo>
                  <a:pt x="58" y="202"/>
                  <a:pt x="58" y="201"/>
                  <a:pt x="58" y="201"/>
                </a:cubicBezTo>
                <a:cubicBezTo>
                  <a:pt x="58" y="201"/>
                  <a:pt x="58" y="201"/>
                  <a:pt x="58" y="200"/>
                </a:cubicBezTo>
                <a:cubicBezTo>
                  <a:pt x="58" y="199"/>
                  <a:pt x="57" y="200"/>
                  <a:pt x="57" y="199"/>
                </a:cubicBezTo>
                <a:cubicBezTo>
                  <a:pt x="57" y="199"/>
                  <a:pt x="57" y="198"/>
                  <a:pt x="57" y="198"/>
                </a:cubicBezTo>
                <a:cubicBezTo>
                  <a:pt x="57" y="198"/>
                  <a:pt x="56" y="198"/>
                  <a:pt x="56" y="198"/>
                </a:cubicBezTo>
                <a:cubicBezTo>
                  <a:pt x="56" y="198"/>
                  <a:pt x="56" y="198"/>
                  <a:pt x="56" y="198"/>
                </a:cubicBezTo>
                <a:cubicBezTo>
                  <a:pt x="56" y="197"/>
                  <a:pt x="55" y="196"/>
                  <a:pt x="54" y="196"/>
                </a:cubicBezTo>
                <a:cubicBezTo>
                  <a:pt x="54" y="196"/>
                  <a:pt x="54" y="195"/>
                  <a:pt x="54" y="195"/>
                </a:cubicBezTo>
                <a:cubicBezTo>
                  <a:pt x="53" y="195"/>
                  <a:pt x="53" y="194"/>
                  <a:pt x="52" y="194"/>
                </a:cubicBezTo>
                <a:cubicBezTo>
                  <a:pt x="51" y="190"/>
                  <a:pt x="52" y="187"/>
                  <a:pt x="52" y="183"/>
                </a:cubicBezTo>
                <a:cubicBezTo>
                  <a:pt x="52" y="182"/>
                  <a:pt x="51" y="183"/>
                  <a:pt x="51" y="181"/>
                </a:cubicBezTo>
                <a:cubicBezTo>
                  <a:pt x="49" y="182"/>
                  <a:pt x="46" y="181"/>
                  <a:pt x="45" y="180"/>
                </a:cubicBezTo>
                <a:cubicBezTo>
                  <a:pt x="45" y="178"/>
                  <a:pt x="43" y="181"/>
                  <a:pt x="44" y="178"/>
                </a:cubicBezTo>
                <a:cubicBezTo>
                  <a:pt x="42" y="177"/>
                  <a:pt x="41" y="177"/>
                  <a:pt x="39" y="178"/>
                </a:cubicBezTo>
                <a:cubicBezTo>
                  <a:pt x="38" y="178"/>
                  <a:pt x="37" y="178"/>
                  <a:pt x="37" y="178"/>
                </a:cubicBezTo>
                <a:cubicBezTo>
                  <a:pt x="37" y="178"/>
                  <a:pt x="35" y="179"/>
                  <a:pt x="34" y="178"/>
                </a:cubicBezTo>
                <a:cubicBezTo>
                  <a:pt x="35" y="180"/>
                  <a:pt x="35" y="179"/>
                  <a:pt x="33" y="179"/>
                </a:cubicBezTo>
                <a:cubicBezTo>
                  <a:pt x="31" y="180"/>
                  <a:pt x="30" y="180"/>
                  <a:pt x="28" y="180"/>
                </a:cubicBezTo>
                <a:cubicBezTo>
                  <a:pt x="27" y="180"/>
                  <a:pt x="27" y="180"/>
                  <a:pt x="26" y="180"/>
                </a:cubicBezTo>
                <a:cubicBezTo>
                  <a:pt x="23" y="180"/>
                  <a:pt x="20" y="181"/>
                  <a:pt x="18" y="181"/>
                </a:cubicBezTo>
                <a:cubicBezTo>
                  <a:pt x="18" y="179"/>
                  <a:pt x="16" y="180"/>
                  <a:pt x="15" y="179"/>
                </a:cubicBezTo>
                <a:cubicBezTo>
                  <a:pt x="15" y="179"/>
                  <a:pt x="15" y="179"/>
                  <a:pt x="15" y="178"/>
                </a:cubicBezTo>
                <a:cubicBezTo>
                  <a:pt x="15" y="178"/>
                  <a:pt x="14" y="179"/>
                  <a:pt x="14" y="178"/>
                </a:cubicBezTo>
                <a:cubicBezTo>
                  <a:pt x="14" y="178"/>
                  <a:pt x="14" y="178"/>
                  <a:pt x="14" y="178"/>
                </a:cubicBezTo>
                <a:cubicBezTo>
                  <a:pt x="14" y="177"/>
                  <a:pt x="13" y="178"/>
                  <a:pt x="13" y="177"/>
                </a:cubicBezTo>
                <a:cubicBezTo>
                  <a:pt x="13" y="177"/>
                  <a:pt x="12" y="176"/>
                  <a:pt x="12" y="176"/>
                </a:cubicBezTo>
                <a:cubicBezTo>
                  <a:pt x="12" y="176"/>
                  <a:pt x="12" y="176"/>
                  <a:pt x="12" y="176"/>
                </a:cubicBezTo>
                <a:cubicBezTo>
                  <a:pt x="11" y="176"/>
                  <a:pt x="11" y="175"/>
                  <a:pt x="11" y="175"/>
                </a:cubicBezTo>
                <a:cubicBezTo>
                  <a:pt x="11" y="174"/>
                  <a:pt x="10" y="175"/>
                  <a:pt x="10" y="174"/>
                </a:cubicBezTo>
                <a:cubicBezTo>
                  <a:pt x="10" y="174"/>
                  <a:pt x="10" y="174"/>
                  <a:pt x="10" y="173"/>
                </a:cubicBezTo>
                <a:cubicBezTo>
                  <a:pt x="10" y="173"/>
                  <a:pt x="9" y="174"/>
                  <a:pt x="9" y="173"/>
                </a:cubicBezTo>
                <a:cubicBezTo>
                  <a:pt x="9" y="173"/>
                  <a:pt x="10" y="172"/>
                  <a:pt x="10" y="172"/>
                </a:cubicBezTo>
                <a:cubicBezTo>
                  <a:pt x="9" y="171"/>
                  <a:pt x="7" y="171"/>
                  <a:pt x="7" y="170"/>
                </a:cubicBezTo>
                <a:cubicBezTo>
                  <a:pt x="5" y="170"/>
                  <a:pt x="6" y="168"/>
                  <a:pt x="4" y="168"/>
                </a:cubicBezTo>
                <a:cubicBezTo>
                  <a:pt x="4" y="168"/>
                  <a:pt x="5" y="167"/>
                  <a:pt x="5" y="167"/>
                </a:cubicBezTo>
                <a:cubicBezTo>
                  <a:pt x="4" y="166"/>
                  <a:pt x="3" y="166"/>
                  <a:pt x="3" y="166"/>
                </a:cubicBezTo>
                <a:cubicBezTo>
                  <a:pt x="3" y="165"/>
                  <a:pt x="2" y="165"/>
                  <a:pt x="2" y="165"/>
                </a:cubicBezTo>
                <a:cubicBezTo>
                  <a:pt x="2" y="164"/>
                  <a:pt x="3" y="164"/>
                  <a:pt x="2" y="163"/>
                </a:cubicBezTo>
                <a:cubicBezTo>
                  <a:pt x="2" y="163"/>
                  <a:pt x="1" y="163"/>
                  <a:pt x="1" y="163"/>
                </a:cubicBezTo>
                <a:cubicBezTo>
                  <a:pt x="1" y="162"/>
                  <a:pt x="1" y="161"/>
                  <a:pt x="0" y="161"/>
                </a:cubicBezTo>
                <a:cubicBezTo>
                  <a:pt x="0" y="160"/>
                  <a:pt x="1" y="161"/>
                  <a:pt x="2" y="160"/>
                </a:cubicBezTo>
                <a:cubicBezTo>
                  <a:pt x="2" y="160"/>
                  <a:pt x="2" y="159"/>
                  <a:pt x="3" y="159"/>
                </a:cubicBezTo>
                <a:cubicBezTo>
                  <a:pt x="3" y="156"/>
                  <a:pt x="3" y="154"/>
                  <a:pt x="3" y="151"/>
                </a:cubicBezTo>
                <a:cubicBezTo>
                  <a:pt x="3" y="150"/>
                  <a:pt x="2" y="151"/>
                  <a:pt x="2" y="150"/>
                </a:cubicBezTo>
                <a:cubicBezTo>
                  <a:pt x="2" y="150"/>
                  <a:pt x="2" y="150"/>
                  <a:pt x="2" y="150"/>
                </a:cubicBezTo>
                <a:cubicBezTo>
                  <a:pt x="2" y="149"/>
                  <a:pt x="2" y="149"/>
                  <a:pt x="2" y="148"/>
                </a:cubicBezTo>
                <a:cubicBezTo>
                  <a:pt x="4" y="150"/>
                  <a:pt x="2" y="144"/>
                  <a:pt x="4" y="146"/>
                </a:cubicBezTo>
                <a:cubicBezTo>
                  <a:pt x="4" y="146"/>
                  <a:pt x="3" y="144"/>
                  <a:pt x="4" y="143"/>
                </a:cubicBezTo>
                <a:cubicBezTo>
                  <a:pt x="4" y="143"/>
                  <a:pt x="5" y="144"/>
                  <a:pt x="5" y="143"/>
                </a:cubicBezTo>
                <a:cubicBezTo>
                  <a:pt x="5" y="143"/>
                  <a:pt x="4" y="143"/>
                  <a:pt x="5" y="142"/>
                </a:cubicBezTo>
                <a:cubicBezTo>
                  <a:pt x="6" y="142"/>
                  <a:pt x="6" y="139"/>
                  <a:pt x="8" y="139"/>
                </a:cubicBezTo>
                <a:cubicBezTo>
                  <a:pt x="8" y="137"/>
                  <a:pt x="9" y="137"/>
                  <a:pt x="9" y="136"/>
                </a:cubicBezTo>
                <a:cubicBezTo>
                  <a:pt x="10" y="136"/>
                  <a:pt x="10" y="135"/>
                  <a:pt x="10" y="135"/>
                </a:cubicBezTo>
                <a:cubicBezTo>
                  <a:pt x="13" y="134"/>
                  <a:pt x="15" y="133"/>
                  <a:pt x="15" y="130"/>
                </a:cubicBezTo>
                <a:cubicBezTo>
                  <a:pt x="17" y="130"/>
                  <a:pt x="15" y="127"/>
                  <a:pt x="17" y="128"/>
                </a:cubicBezTo>
                <a:cubicBezTo>
                  <a:pt x="17" y="127"/>
                  <a:pt x="17" y="126"/>
                  <a:pt x="17" y="125"/>
                </a:cubicBezTo>
                <a:cubicBezTo>
                  <a:pt x="18" y="125"/>
                  <a:pt x="18" y="124"/>
                  <a:pt x="19" y="124"/>
                </a:cubicBezTo>
                <a:cubicBezTo>
                  <a:pt x="19" y="123"/>
                  <a:pt x="20" y="123"/>
                  <a:pt x="21" y="122"/>
                </a:cubicBezTo>
                <a:cubicBezTo>
                  <a:pt x="21" y="121"/>
                  <a:pt x="21" y="122"/>
                  <a:pt x="21" y="121"/>
                </a:cubicBezTo>
                <a:cubicBezTo>
                  <a:pt x="21" y="121"/>
                  <a:pt x="23" y="121"/>
                  <a:pt x="22" y="120"/>
                </a:cubicBezTo>
                <a:cubicBezTo>
                  <a:pt x="24" y="120"/>
                  <a:pt x="25" y="119"/>
                  <a:pt x="26" y="119"/>
                </a:cubicBezTo>
                <a:cubicBezTo>
                  <a:pt x="26" y="121"/>
                  <a:pt x="29" y="119"/>
                  <a:pt x="28" y="121"/>
                </a:cubicBezTo>
                <a:cubicBezTo>
                  <a:pt x="29" y="120"/>
                  <a:pt x="33" y="121"/>
                  <a:pt x="33" y="119"/>
                </a:cubicBezTo>
                <a:cubicBezTo>
                  <a:pt x="35" y="119"/>
                  <a:pt x="37" y="118"/>
                  <a:pt x="38" y="117"/>
                </a:cubicBezTo>
                <a:cubicBezTo>
                  <a:pt x="38" y="117"/>
                  <a:pt x="39" y="117"/>
                  <a:pt x="39" y="116"/>
                </a:cubicBezTo>
                <a:cubicBezTo>
                  <a:pt x="40" y="116"/>
                  <a:pt x="40" y="117"/>
                  <a:pt x="41" y="117"/>
                </a:cubicBezTo>
                <a:cubicBezTo>
                  <a:pt x="42" y="117"/>
                  <a:pt x="43" y="116"/>
                  <a:pt x="44" y="116"/>
                </a:cubicBezTo>
                <a:cubicBezTo>
                  <a:pt x="44" y="116"/>
                  <a:pt x="44" y="117"/>
                  <a:pt x="44" y="117"/>
                </a:cubicBezTo>
                <a:cubicBezTo>
                  <a:pt x="45" y="117"/>
                  <a:pt x="47" y="118"/>
                  <a:pt x="49" y="117"/>
                </a:cubicBezTo>
                <a:cubicBezTo>
                  <a:pt x="50" y="117"/>
                  <a:pt x="52" y="116"/>
                  <a:pt x="53" y="117"/>
                </a:cubicBezTo>
                <a:cubicBezTo>
                  <a:pt x="53" y="118"/>
                  <a:pt x="53" y="117"/>
                  <a:pt x="54" y="117"/>
                </a:cubicBezTo>
                <a:cubicBezTo>
                  <a:pt x="54" y="117"/>
                  <a:pt x="55" y="117"/>
                  <a:pt x="55" y="118"/>
                </a:cubicBezTo>
                <a:cubicBezTo>
                  <a:pt x="55" y="118"/>
                  <a:pt x="54" y="118"/>
                  <a:pt x="54" y="118"/>
                </a:cubicBezTo>
                <a:cubicBezTo>
                  <a:pt x="54" y="119"/>
                  <a:pt x="54" y="119"/>
                  <a:pt x="54" y="119"/>
                </a:cubicBezTo>
                <a:cubicBezTo>
                  <a:pt x="55" y="119"/>
                  <a:pt x="54" y="119"/>
                  <a:pt x="54" y="119"/>
                </a:cubicBezTo>
                <a:cubicBezTo>
                  <a:pt x="54" y="120"/>
                  <a:pt x="55" y="120"/>
                  <a:pt x="54" y="120"/>
                </a:cubicBezTo>
                <a:cubicBezTo>
                  <a:pt x="54" y="121"/>
                  <a:pt x="54" y="122"/>
                  <a:pt x="55" y="124"/>
                </a:cubicBezTo>
                <a:cubicBezTo>
                  <a:pt x="55" y="125"/>
                  <a:pt x="56" y="123"/>
                  <a:pt x="56" y="124"/>
                </a:cubicBezTo>
                <a:cubicBezTo>
                  <a:pt x="56" y="125"/>
                  <a:pt x="57" y="125"/>
                  <a:pt x="57" y="125"/>
                </a:cubicBezTo>
                <a:cubicBezTo>
                  <a:pt x="57" y="125"/>
                  <a:pt x="57" y="126"/>
                  <a:pt x="57" y="126"/>
                </a:cubicBezTo>
                <a:cubicBezTo>
                  <a:pt x="58" y="126"/>
                  <a:pt x="59" y="125"/>
                  <a:pt x="59" y="126"/>
                </a:cubicBezTo>
                <a:cubicBezTo>
                  <a:pt x="60" y="126"/>
                  <a:pt x="61" y="128"/>
                  <a:pt x="62" y="126"/>
                </a:cubicBezTo>
                <a:cubicBezTo>
                  <a:pt x="63" y="126"/>
                  <a:pt x="62" y="127"/>
                  <a:pt x="62" y="127"/>
                </a:cubicBezTo>
                <a:cubicBezTo>
                  <a:pt x="63" y="128"/>
                  <a:pt x="64" y="127"/>
                  <a:pt x="65" y="128"/>
                </a:cubicBezTo>
                <a:cubicBezTo>
                  <a:pt x="65" y="128"/>
                  <a:pt x="65" y="128"/>
                  <a:pt x="65" y="129"/>
                </a:cubicBezTo>
                <a:cubicBezTo>
                  <a:pt x="65" y="129"/>
                  <a:pt x="66" y="128"/>
                  <a:pt x="66" y="129"/>
                </a:cubicBezTo>
                <a:cubicBezTo>
                  <a:pt x="67" y="129"/>
                  <a:pt x="67" y="129"/>
                  <a:pt x="68" y="129"/>
                </a:cubicBezTo>
                <a:cubicBezTo>
                  <a:pt x="68" y="129"/>
                  <a:pt x="68" y="130"/>
                  <a:pt x="68" y="130"/>
                </a:cubicBezTo>
                <a:cubicBezTo>
                  <a:pt x="68" y="130"/>
                  <a:pt x="69" y="129"/>
                  <a:pt x="69" y="129"/>
                </a:cubicBezTo>
                <a:cubicBezTo>
                  <a:pt x="69" y="129"/>
                  <a:pt x="70" y="130"/>
                  <a:pt x="70" y="130"/>
                </a:cubicBezTo>
                <a:cubicBezTo>
                  <a:pt x="70" y="130"/>
                  <a:pt x="71" y="130"/>
                  <a:pt x="71" y="130"/>
                </a:cubicBezTo>
                <a:cubicBezTo>
                  <a:pt x="71" y="130"/>
                  <a:pt x="72" y="129"/>
                  <a:pt x="72" y="129"/>
                </a:cubicBezTo>
                <a:cubicBezTo>
                  <a:pt x="72" y="129"/>
                  <a:pt x="73" y="129"/>
                  <a:pt x="72" y="129"/>
                </a:cubicBezTo>
                <a:cubicBezTo>
                  <a:pt x="71" y="128"/>
                  <a:pt x="74" y="128"/>
                  <a:pt x="74" y="126"/>
                </a:cubicBezTo>
                <a:cubicBezTo>
                  <a:pt x="75" y="127"/>
                  <a:pt x="75" y="125"/>
                  <a:pt x="76" y="126"/>
                </a:cubicBezTo>
                <a:cubicBezTo>
                  <a:pt x="77" y="126"/>
                  <a:pt x="77" y="126"/>
                  <a:pt x="77" y="126"/>
                </a:cubicBezTo>
                <a:cubicBezTo>
                  <a:pt x="77" y="126"/>
                  <a:pt x="78" y="126"/>
                  <a:pt x="79" y="126"/>
                </a:cubicBezTo>
                <a:cubicBezTo>
                  <a:pt x="79" y="126"/>
                  <a:pt x="80" y="127"/>
                  <a:pt x="80" y="127"/>
                </a:cubicBezTo>
                <a:cubicBezTo>
                  <a:pt x="80" y="127"/>
                  <a:pt x="80" y="126"/>
                  <a:pt x="81" y="127"/>
                </a:cubicBezTo>
                <a:cubicBezTo>
                  <a:pt x="81" y="127"/>
                  <a:pt x="81" y="128"/>
                  <a:pt x="81" y="128"/>
                </a:cubicBezTo>
                <a:cubicBezTo>
                  <a:pt x="81" y="128"/>
                  <a:pt x="82" y="127"/>
                  <a:pt x="83" y="127"/>
                </a:cubicBezTo>
                <a:cubicBezTo>
                  <a:pt x="83" y="128"/>
                  <a:pt x="82" y="128"/>
                  <a:pt x="82" y="128"/>
                </a:cubicBezTo>
                <a:cubicBezTo>
                  <a:pt x="82" y="128"/>
                  <a:pt x="85" y="129"/>
                  <a:pt x="87" y="129"/>
                </a:cubicBezTo>
                <a:cubicBezTo>
                  <a:pt x="87" y="130"/>
                  <a:pt x="91" y="130"/>
                  <a:pt x="91" y="129"/>
                </a:cubicBezTo>
                <a:cubicBezTo>
                  <a:pt x="92" y="129"/>
                  <a:pt x="94" y="128"/>
                  <a:pt x="94" y="129"/>
                </a:cubicBezTo>
                <a:cubicBezTo>
                  <a:pt x="95" y="129"/>
                  <a:pt x="94" y="128"/>
                  <a:pt x="95" y="129"/>
                </a:cubicBezTo>
                <a:cubicBezTo>
                  <a:pt x="96" y="129"/>
                  <a:pt x="97" y="129"/>
                  <a:pt x="97" y="129"/>
                </a:cubicBezTo>
                <a:cubicBezTo>
                  <a:pt x="98" y="129"/>
                  <a:pt x="99" y="128"/>
                  <a:pt x="100" y="128"/>
                </a:cubicBezTo>
                <a:cubicBezTo>
                  <a:pt x="100" y="127"/>
                  <a:pt x="100" y="126"/>
                  <a:pt x="101" y="125"/>
                </a:cubicBezTo>
                <a:cubicBezTo>
                  <a:pt x="101" y="124"/>
                  <a:pt x="101" y="124"/>
                  <a:pt x="101" y="123"/>
                </a:cubicBezTo>
                <a:cubicBezTo>
                  <a:pt x="102" y="124"/>
                  <a:pt x="102" y="121"/>
                  <a:pt x="103" y="122"/>
                </a:cubicBezTo>
                <a:cubicBezTo>
                  <a:pt x="104" y="120"/>
                  <a:pt x="103" y="120"/>
                  <a:pt x="102" y="120"/>
                </a:cubicBezTo>
                <a:cubicBezTo>
                  <a:pt x="102" y="119"/>
                  <a:pt x="102" y="119"/>
                  <a:pt x="102" y="118"/>
                </a:cubicBezTo>
                <a:cubicBezTo>
                  <a:pt x="102" y="116"/>
                  <a:pt x="99" y="117"/>
                  <a:pt x="98" y="116"/>
                </a:cubicBezTo>
                <a:cubicBezTo>
                  <a:pt x="98" y="117"/>
                  <a:pt x="96" y="116"/>
                  <a:pt x="96" y="117"/>
                </a:cubicBezTo>
                <a:cubicBezTo>
                  <a:pt x="95" y="118"/>
                  <a:pt x="95" y="117"/>
                  <a:pt x="95" y="116"/>
                </a:cubicBezTo>
                <a:cubicBezTo>
                  <a:pt x="94" y="116"/>
                  <a:pt x="93" y="117"/>
                  <a:pt x="92" y="116"/>
                </a:cubicBezTo>
                <a:cubicBezTo>
                  <a:pt x="91" y="117"/>
                  <a:pt x="91" y="117"/>
                  <a:pt x="90" y="117"/>
                </a:cubicBezTo>
                <a:cubicBezTo>
                  <a:pt x="89" y="117"/>
                  <a:pt x="89" y="116"/>
                  <a:pt x="87" y="116"/>
                </a:cubicBezTo>
                <a:cubicBezTo>
                  <a:pt x="87" y="115"/>
                  <a:pt x="87" y="115"/>
                  <a:pt x="87" y="114"/>
                </a:cubicBezTo>
                <a:cubicBezTo>
                  <a:pt x="86" y="114"/>
                  <a:pt x="86" y="114"/>
                  <a:pt x="86" y="114"/>
                </a:cubicBezTo>
                <a:cubicBezTo>
                  <a:pt x="85" y="113"/>
                  <a:pt x="85" y="113"/>
                  <a:pt x="84" y="113"/>
                </a:cubicBezTo>
                <a:cubicBezTo>
                  <a:pt x="85" y="112"/>
                  <a:pt x="84" y="109"/>
                  <a:pt x="84" y="108"/>
                </a:cubicBezTo>
                <a:cubicBezTo>
                  <a:pt x="83" y="108"/>
                  <a:pt x="81" y="107"/>
                  <a:pt x="81" y="109"/>
                </a:cubicBezTo>
                <a:cubicBezTo>
                  <a:pt x="80" y="108"/>
                  <a:pt x="80" y="109"/>
                  <a:pt x="78" y="108"/>
                </a:cubicBezTo>
                <a:cubicBezTo>
                  <a:pt x="78" y="109"/>
                  <a:pt x="78" y="109"/>
                  <a:pt x="78" y="109"/>
                </a:cubicBezTo>
                <a:cubicBezTo>
                  <a:pt x="78" y="110"/>
                  <a:pt x="78" y="110"/>
                  <a:pt x="79" y="110"/>
                </a:cubicBezTo>
                <a:cubicBezTo>
                  <a:pt x="79" y="111"/>
                  <a:pt x="79" y="112"/>
                  <a:pt x="80" y="111"/>
                </a:cubicBezTo>
                <a:cubicBezTo>
                  <a:pt x="79" y="113"/>
                  <a:pt x="79" y="112"/>
                  <a:pt x="80" y="113"/>
                </a:cubicBezTo>
                <a:cubicBezTo>
                  <a:pt x="81" y="114"/>
                  <a:pt x="80" y="114"/>
                  <a:pt x="79" y="114"/>
                </a:cubicBezTo>
                <a:cubicBezTo>
                  <a:pt x="79" y="114"/>
                  <a:pt x="79" y="116"/>
                  <a:pt x="78" y="115"/>
                </a:cubicBezTo>
                <a:cubicBezTo>
                  <a:pt x="77" y="115"/>
                  <a:pt x="78" y="117"/>
                  <a:pt x="76" y="116"/>
                </a:cubicBezTo>
                <a:cubicBezTo>
                  <a:pt x="76" y="116"/>
                  <a:pt x="76" y="116"/>
                  <a:pt x="75" y="115"/>
                </a:cubicBezTo>
                <a:cubicBezTo>
                  <a:pt x="75" y="115"/>
                  <a:pt x="76" y="115"/>
                  <a:pt x="76" y="115"/>
                </a:cubicBezTo>
                <a:cubicBezTo>
                  <a:pt x="76" y="114"/>
                  <a:pt x="74" y="113"/>
                  <a:pt x="75" y="112"/>
                </a:cubicBezTo>
                <a:cubicBezTo>
                  <a:pt x="75" y="112"/>
                  <a:pt x="74" y="113"/>
                  <a:pt x="74" y="112"/>
                </a:cubicBezTo>
                <a:cubicBezTo>
                  <a:pt x="73" y="112"/>
                  <a:pt x="75" y="112"/>
                  <a:pt x="75" y="112"/>
                </a:cubicBezTo>
                <a:cubicBezTo>
                  <a:pt x="75" y="112"/>
                  <a:pt x="73" y="111"/>
                  <a:pt x="72" y="110"/>
                </a:cubicBezTo>
                <a:cubicBezTo>
                  <a:pt x="73" y="108"/>
                  <a:pt x="71" y="107"/>
                  <a:pt x="71" y="105"/>
                </a:cubicBezTo>
                <a:cubicBezTo>
                  <a:pt x="71" y="104"/>
                  <a:pt x="70" y="105"/>
                  <a:pt x="70" y="105"/>
                </a:cubicBezTo>
                <a:cubicBezTo>
                  <a:pt x="70" y="105"/>
                  <a:pt x="71" y="104"/>
                  <a:pt x="70" y="104"/>
                </a:cubicBezTo>
                <a:cubicBezTo>
                  <a:pt x="69" y="103"/>
                  <a:pt x="69" y="104"/>
                  <a:pt x="68" y="103"/>
                </a:cubicBezTo>
                <a:cubicBezTo>
                  <a:pt x="68" y="103"/>
                  <a:pt x="69" y="103"/>
                  <a:pt x="69" y="102"/>
                </a:cubicBezTo>
                <a:cubicBezTo>
                  <a:pt x="69" y="102"/>
                  <a:pt x="68" y="103"/>
                  <a:pt x="68" y="103"/>
                </a:cubicBezTo>
                <a:cubicBezTo>
                  <a:pt x="68" y="103"/>
                  <a:pt x="68" y="102"/>
                  <a:pt x="68" y="102"/>
                </a:cubicBezTo>
                <a:cubicBezTo>
                  <a:pt x="66" y="102"/>
                  <a:pt x="66" y="101"/>
                  <a:pt x="64" y="101"/>
                </a:cubicBezTo>
                <a:cubicBezTo>
                  <a:pt x="64" y="100"/>
                  <a:pt x="64" y="100"/>
                  <a:pt x="63" y="100"/>
                </a:cubicBezTo>
                <a:cubicBezTo>
                  <a:pt x="63" y="100"/>
                  <a:pt x="64" y="99"/>
                  <a:pt x="63" y="99"/>
                </a:cubicBezTo>
                <a:cubicBezTo>
                  <a:pt x="63" y="99"/>
                  <a:pt x="63" y="99"/>
                  <a:pt x="62" y="99"/>
                </a:cubicBezTo>
                <a:cubicBezTo>
                  <a:pt x="62" y="99"/>
                  <a:pt x="62" y="97"/>
                  <a:pt x="62" y="98"/>
                </a:cubicBezTo>
                <a:cubicBezTo>
                  <a:pt x="62" y="98"/>
                  <a:pt x="61" y="98"/>
                  <a:pt x="61" y="97"/>
                </a:cubicBezTo>
                <a:cubicBezTo>
                  <a:pt x="61" y="97"/>
                  <a:pt x="60" y="97"/>
                  <a:pt x="61" y="96"/>
                </a:cubicBezTo>
                <a:cubicBezTo>
                  <a:pt x="59" y="96"/>
                  <a:pt x="59" y="97"/>
                  <a:pt x="58" y="96"/>
                </a:cubicBezTo>
                <a:cubicBezTo>
                  <a:pt x="57" y="96"/>
                  <a:pt x="57" y="97"/>
                  <a:pt x="57" y="97"/>
                </a:cubicBezTo>
                <a:cubicBezTo>
                  <a:pt x="56" y="99"/>
                  <a:pt x="58" y="98"/>
                  <a:pt x="58" y="99"/>
                </a:cubicBezTo>
                <a:cubicBezTo>
                  <a:pt x="58" y="99"/>
                  <a:pt x="58" y="100"/>
                  <a:pt x="59" y="101"/>
                </a:cubicBezTo>
                <a:cubicBezTo>
                  <a:pt x="59" y="101"/>
                  <a:pt x="59" y="101"/>
                  <a:pt x="60" y="101"/>
                </a:cubicBezTo>
                <a:cubicBezTo>
                  <a:pt x="59" y="102"/>
                  <a:pt x="61" y="102"/>
                  <a:pt x="61" y="103"/>
                </a:cubicBezTo>
                <a:cubicBezTo>
                  <a:pt x="61" y="103"/>
                  <a:pt x="61" y="105"/>
                  <a:pt x="62" y="104"/>
                </a:cubicBezTo>
                <a:cubicBezTo>
                  <a:pt x="63" y="104"/>
                  <a:pt x="62" y="104"/>
                  <a:pt x="62" y="105"/>
                </a:cubicBezTo>
                <a:cubicBezTo>
                  <a:pt x="63" y="105"/>
                  <a:pt x="64" y="105"/>
                  <a:pt x="64" y="106"/>
                </a:cubicBezTo>
                <a:cubicBezTo>
                  <a:pt x="65" y="106"/>
                  <a:pt x="65" y="107"/>
                  <a:pt x="65" y="107"/>
                </a:cubicBezTo>
                <a:cubicBezTo>
                  <a:pt x="65" y="107"/>
                  <a:pt x="66" y="106"/>
                  <a:pt x="66" y="106"/>
                </a:cubicBezTo>
                <a:cubicBezTo>
                  <a:pt x="66" y="106"/>
                  <a:pt x="66" y="108"/>
                  <a:pt x="67" y="107"/>
                </a:cubicBezTo>
                <a:cubicBezTo>
                  <a:pt x="68" y="106"/>
                  <a:pt x="66" y="109"/>
                  <a:pt x="68" y="108"/>
                </a:cubicBezTo>
                <a:cubicBezTo>
                  <a:pt x="68" y="109"/>
                  <a:pt x="66" y="108"/>
                  <a:pt x="65" y="108"/>
                </a:cubicBezTo>
                <a:cubicBezTo>
                  <a:pt x="65" y="109"/>
                  <a:pt x="66" y="109"/>
                  <a:pt x="66" y="109"/>
                </a:cubicBezTo>
                <a:cubicBezTo>
                  <a:pt x="66" y="110"/>
                  <a:pt x="65" y="112"/>
                  <a:pt x="66" y="112"/>
                </a:cubicBezTo>
                <a:cubicBezTo>
                  <a:pt x="66" y="112"/>
                  <a:pt x="65" y="112"/>
                  <a:pt x="64" y="113"/>
                </a:cubicBezTo>
                <a:cubicBezTo>
                  <a:pt x="64" y="112"/>
                  <a:pt x="64" y="111"/>
                  <a:pt x="65" y="111"/>
                </a:cubicBezTo>
                <a:cubicBezTo>
                  <a:pt x="64" y="111"/>
                  <a:pt x="64" y="109"/>
                  <a:pt x="64" y="109"/>
                </a:cubicBezTo>
                <a:cubicBezTo>
                  <a:pt x="63" y="109"/>
                  <a:pt x="64" y="109"/>
                  <a:pt x="63" y="108"/>
                </a:cubicBezTo>
                <a:cubicBezTo>
                  <a:pt x="62" y="108"/>
                  <a:pt x="61" y="108"/>
                  <a:pt x="61" y="107"/>
                </a:cubicBezTo>
                <a:cubicBezTo>
                  <a:pt x="60" y="107"/>
                  <a:pt x="59" y="106"/>
                  <a:pt x="58" y="106"/>
                </a:cubicBezTo>
                <a:cubicBezTo>
                  <a:pt x="57" y="105"/>
                  <a:pt x="57" y="104"/>
                  <a:pt x="56" y="103"/>
                </a:cubicBezTo>
                <a:cubicBezTo>
                  <a:pt x="56" y="103"/>
                  <a:pt x="55" y="103"/>
                  <a:pt x="55" y="102"/>
                </a:cubicBezTo>
                <a:cubicBezTo>
                  <a:pt x="55" y="102"/>
                  <a:pt x="55" y="102"/>
                  <a:pt x="54" y="102"/>
                </a:cubicBezTo>
                <a:cubicBezTo>
                  <a:pt x="54" y="102"/>
                  <a:pt x="55" y="101"/>
                  <a:pt x="54" y="101"/>
                </a:cubicBezTo>
                <a:cubicBezTo>
                  <a:pt x="54" y="101"/>
                  <a:pt x="53" y="101"/>
                  <a:pt x="53" y="101"/>
                </a:cubicBezTo>
                <a:cubicBezTo>
                  <a:pt x="52" y="101"/>
                  <a:pt x="53" y="100"/>
                  <a:pt x="54" y="101"/>
                </a:cubicBezTo>
                <a:cubicBezTo>
                  <a:pt x="53" y="99"/>
                  <a:pt x="50" y="100"/>
                  <a:pt x="49" y="100"/>
                </a:cubicBezTo>
                <a:cubicBezTo>
                  <a:pt x="49" y="100"/>
                  <a:pt x="50" y="101"/>
                  <a:pt x="50" y="101"/>
                </a:cubicBezTo>
                <a:cubicBezTo>
                  <a:pt x="49" y="101"/>
                  <a:pt x="49" y="101"/>
                  <a:pt x="48" y="101"/>
                </a:cubicBezTo>
                <a:cubicBezTo>
                  <a:pt x="47" y="102"/>
                  <a:pt x="47" y="103"/>
                  <a:pt x="47" y="103"/>
                </a:cubicBezTo>
                <a:cubicBezTo>
                  <a:pt x="45" y="103"/>
                  <a:pt x="44" y="101"/>
                  <a:pt x="42" y="101"/>
                </a:cubicBezTo>
                <a:cubicBezTo>
                  <a:pt x="41" y="102"/>
                  <a:pt x="41" y="103"/>
                  <a:pt x="40" y="102"/>
                </a:cubicBezTo>
                <a:cubicBezTo>
                  <a:pt x="40" y="104"/>
                  <a:pt x="40" y="105"/>
                  <a:pt x="40" y="106"/>
                </a:cubicBezTo>
                <a:cubicBezTo>
                  <a:pt x="39" y="106"/>
                  <a:pt x="36" y="106"/>
                  <a:pt x="36" y="108"/>
                </a:cubicBezTo>
                <a:cubicBezTo>
                  <a:pt x="33" y="108"/>
                  <a:pt x="36" y="110"/>
                  <a:pt x="33" y="110"/>
                </a:cubicBezTo>
                <a:cubicBezTo>
                  <a:pt x="33" y="111"/>
                  <a:pt x="35" y="112"/>
                  <a:pt x="33" y="112"/>
                </a:cubicBezTo>
                <a:cubicBezTo>
                  <a:pt x="33" y="114"/>
                  <a:pt x="33" y="112"/>
                  <a:pt x="32" y="114"/>
                </a:cubicBezTo>
                <a:cubicBezTo>
                  <a:pt x="32" y="114"/>
                  <a:pt x="32" y="114"/>
                  <a:pt x="32" y="115"/>
                </a:cubicBezTo>
                <a:cubicBezTo>
                  <a:pt x="32" y="116"/>
                  <a:pt x="30" y="115"/>
                  <a:pt x="30" y="115"/>
                </a:cubicBezTo>
                <a:cubicBezTo>
                  <a:pt x="29" y="115"/>
                  <a:pt x="29" y="116"/>
                  <a:pt x="29" y="116"/>
                </a:cubicBezTo>
                <a:cubicBezTo>
                  <a:pt x="27" y="117"/>
                  <a:pt x="25" y="116"/>
                  <a:pt x="24" y="118"/>
                </a:cubicBezTo>
                <a:cubicBezTo>
                  <a:pt x="23" y="117"/>
                  <a:pt x="23" y="117"/>
                  <a:pt x="22" y="116"/>
                </a:cubicBezTo>
                <a:cubicBezTo>
                  <a:pt x="20" y="116"/>
                  <a:pt x="18" y="117"/>
                  <a:pt x="17" y="116"/>
                </a:cubicBezTo>
                <a:cubicBezTo>
                  <a:pt x="17" y="114"/>
                  <a:pt x="18" y="112"/>
                  <a:pt x="17" y="111"/>
                </a:cubicBezTo>
                <a:cubicBezTo>
                  <a:pt x="16" y="110"/>
                  <a:pt x="17" y="110"/>
                  <a:pt x="18" y="109"/>
                </a:cubicBezTo>
                <a:cubicBezTo>
                  <a:pt x="18" y="108"/>
                  <a:pt x="17" y="107"/>
                  <a:pt x="18" y="106"/>
                </a:cubicBezTo>
                <a:cubicBezTo>
                  <a:pt x="18" y="105"/>
                  <a:pt x="18" y="103"/>
                  <a:pt x="17" y="103"/>
                </a:cubicBezTo>
                <a:cubicBezTo>
                  <a:pt x="17" y="102"/>
                  <a:pt x="18" y="102"/>
                  <a:pt x="18" y="101"/>
                </a:cubicBezTo>
                <a:cubicBezTo>
                  <a:pt x="19" y="102"/>
                  <a:pt x="22" y="101"/>
                  <a:pt x="21" y="102"/>
                </a:cubicBezTo>
                <a:cubicBezTo>
                  <a:pt x="23" y="102"/>
                  <a:pt x="27" y="104"/>
                  <a:pt x="28" y="102"/>
                </a:cubicBezTo>
                <a:cubicBezTo>
                  <a:pt x="28" y="102"/>
                  <a:pt x="28" y="102"/>
                  <a:pt x="29" y="102"/>
                </a:cubicBezTo>
                <a:cubicBezTo>
                  <a:pt x="29" y="102"/>
                  <a:pt x="29" y="102"/>
                  <a:pt x="29" y="102"/>
                </a:cubicBezTo>
                <a:cubicBezTo>
                  <a:pt x="29" y="102"/>
                  <a:pt x="29" y="102"/>
                  <a:pt x="29" y="102"/>
                </a:cubicBezTo>
                <a:cubicBezTo>
                  <a:pt x="31" y="102"/>
                  <a:pt x="31" y="101"/>
                  <a:pt x="32" y="100"/>
                </a:cubicBezTo>
                <a:cubicBezTo>
                  <a:pt x="32" y="100"/>
                  <a:pt x="33" y="97"/>
                  <a:pt x="32" y="96"/>
                </a:cubicBezTo>
                <a:cubicBezTo>
                  <a:pt x="31" y="95"/>
                  <a:pt x="32" y="95"/>
                  <a:pt x="31" y="94"/>
                </a:cubicBezTo>
                <a:cubicBezTo>
                  <a:pt x="31" y="93"/>
                  <a:pt x="30" y="94"/>
                  <a:pt x="30" y="94"/>
                </a:cubicBezTo>
                <a:cubicBezTo>
                  <a:pt x="30" y="93"/>
                  <a:pt x="30" y="93"/>
                  <a:pt x="30" y="92"/>
                </a:cubicBezTo>
                <a:cubicBezTo>
                  <a:pt x="30" y="92"/>
                  <a:pt x="29" y="93"/>
                  <a:pt x="29" y="93"/>
                </a:cubicBezTo>
                <a:cubicBezTo>
                  <a:pt x="29" y="92"/>
                  <a:pt x="29" y="92"/>
                  <a:pt x="29" y="92"/>
                </a:cubicBezTo>
                <a:cubicBezTo>
                  <a:pt x="28" y="91"/>
                  <a:pt x="27" y="91"/>
                  <a:pt x="26" y="91"/>
                </a:cubicBezTo>
                <a:cubicBezTo>
                  <a:pt x="26" y="91"/>
                  <a:pt x="27" y="91"/>
                  <a:pt x="26" y="91"/>
                </a:cubicBezTo>
                <a:cubicBezTo>
                  <a:pt x="25" y="91"/>
                  <a:pt x="25" y="91"/>
                  <a:pt x="25" y="90"/>
                </a:cubicBezTo>
                <a:cubicBezTo>
                  <a:pt x="25" y="89"/>
                  <a:pt x="26" y="90"/>
                  <a:pt x="26" y="90"/>
                </a:cubicBezTo>
                <a:cubicBezTo>
                  <a:pt x="27" y="89"/>
                  <a:pt x="28" y="88"/>
                  <a:pt x="31" y="89"/>
                </a:cubicBezTo>
                <a:cubicBezTo>
                  <a:pt x="31" y="88"/>
                  <a:pt x="31" y="88"/>
                  <a:pt x="30" y="88"/>
                </a:cubicBezTo>
                <a:cubicBezTo>
                  <a:pt x="31" y="87"/>
                  <a:pt x="32" y="88"/>
                  <a:pt x="33" y="88"/>
                </a:cubicBezTo>
                <a:cubicBezTo>
                  <a:pt x="33" y="88"/>
                  <a:pt x="34" y="87"/>
                  <a:pt x="34" y="88"/>
                </a:cubicBezTo>
                <a:cubicBezTo>
                  <a:pt x="35" y="87"/>
                  <a:pt x="36" y="86"/>
                  <a:pt x="37" y="86"/>
                </a:cubicBezTo>
                <a:cubicBezTo>
                  <a:pt x="37" y="84"/>
                  <a:pt x="39" y="85"/>
                  <a:pt x="38" y="83"/>
                </a:cubicBezTo>
                <a:cubicBezTo>
                  <a:pt x="39" y="83"/>
                  <a:pt x="40" y="83"/>
                  <a:pt x="41" y="83"/>
                </a:cubicBezTo>
                <a:cubicBezTo>
                  <a:pt x="41" y="83"/>
                  <a:pt x="40" y="83"/>
                  <a:pt x="40" y="83"/>
                </a:cubicBezTo>
                <a:cubicBezTo>
                  <a:pt x="40" y="82"/>
                  <a:pt x="41" y="82"/>
                  <a:pt x="41" y="81"/>
                </a:cubicBezTo>
                <a:cubicBezTo>
                  <a:pt x="42" y="81"/>
                  <a:pt x="42" y="82"/>
                  <a:pt x="43" y="81"/>
                </a:cubicBezTo>
                <a:cubicBezTo>
                  <a:pt x="42" y="78"/>
                  <a:pt x="44" y="80"/>
                  <a:pt x="44" y="77"/>
                </a:cubicBezTo>
                <a:cubicBezTo>
                  <a:pt x="44" y="77"/>
                  <a:pt x="45" y="77"/>
                  <a:pt x="46" y="77"/>
                </a:cubicBezTo>
                <a:cubicBezTo>
                  <a:pt x="46" y="77"/>
                  <a:pt x="46" y="76"/>
                  <a:pt x="47" y="76"/>
                </a:cubicBezTo>
                <a:cubicBezTo>
                  <a:pt x="47" y="76"/>
                  <a:pt x="47" y="77"/>
                  <a:pt x="47" y="77"/>
                </a:cubicBezTo>
                <a:cubicBezTo>
                  <a:pt x="48" y="77"/>
                  <a:pt x="47" y="76"/>
                  <a:pt x="47" y="76"/>
                </a:cubicBezTo>
                <a:cubicBezTo>
                  <a:pt x="48" y="76"/>
                  <a:pt x="49" y="76"/>
                  <a:pt x="49" y="76"/>
                </a:cubicBezTo>
                <a:cubicBezTo>
                  <a:pt x="50" y="76"/>
                  <a:pt x="50" y="75"/>
                  <a:pt x="51" y="75"/>
                </a:cubicBezTo>
                <a:cubicBezTo>
                  <a:pt x="51" y="74"/>
                  <a:pt x="50" y="74"/>
                  <a:pt x="50" y="73"/>
                </a:cubicBezTo>
                <a:cubicBezTo>
                  <a:pt x="51" y="73"/>
                  <a:pt x="50" y="72"/>
                  <a:pt x="50" y="71"/>
                </a:cubicBezTo>
                <a:cubicBezTo>
                  <a:pt x="50" y="69"/>
                  <a:pt x="51" y="69"/>
                  <a:pt x="51" y="67"/>
                </a:cubicBezTo>
                <a:cubicBezTo>
                  <a:pt x="51" y="67"/>
                  <a:pt x="52" y="67"/>
                  <a:pt x="53" y="67"/>
                </a:cubicBezTo>
                <a:cubicBezTo>
                  <a:pt x="54" y="67"/>
                  <a:pt x="52" y="66"/>
                  <a:pt x="54" y="66"/>
                </a:cubicBezTo>
                <a:cubicBezTo>
                  <a:pt x="54" y="67"/>
                  <a:pt x="54" y="67"/>
                  <a:pt x="54" y="67"/>
                </a:cubicBezTo>
                <a:cubicBezTo>
                  <a:pt x="54" y="68"/>
                  <a:pt x="54" y="67"/>
                  <a:pt x="54" y="68"/>
                </a:cubicBezTo>
                <a:cubicBezTo>
                  <a:pt x="54" y="69"/>
                  <a:pt x="54" y="70"/>
                  <a:pt x="55" y="70"/>
                </a:cubicBezTo>
                <a:cubicBezTo>
                  <a:pt x="55" y="70"/>
                  <a:pt x="55" y="71"/>
                  <a:pt x="54" y="71"/>
                </a:cubicBezTo>
                <a:cubicBezTo>
                  <a:pt x="54" y="72"/>
                  <a:pt x="56" y="70"/>
                  <a:pt x="57" y="72"/>
                </a:cubicBezTo>
                <a:cubicBezTo>
                  <a:pt x="57" y="73"/>
                  <a:pt x="54" y="72"/>
                  <a:pt x="54" y="73"/>
                </a:cubicBezTo>
                <a:cubicBezTo>
                  <a:pt x="54" y="74"/>
                  <a:pt x="55" y="75"/>
                  <a:pt x="55" y="75"/>
                </a:cubicBezTo>
                <a:cubicBezTo>
                  <a:pt x="56" y="75"/>
                  <a:pt x="56" y="76"/>
                  <a:pt x="57" y="76"/>
                </a:cubicBezTo>
                <a:cubicBezTo>
                  <a:pt x="56" y="75"/>
                  <a:pt x="55" y="75"/>
                  <a:pt x="57" y="75"/>
                </a:cubicBezTo>
                <a:cubicBezTo>
                  <a:pt x="58" y="75"/>
                  <a:pt x="59" y="75"/>
                  <a:pt x="59" y="75"/>
                </a:cubicBezTo>
                <a:cubicBezTo>
                  <a:pt x="60" y="75"/>
                  <a:pt x="60" y="75"/>
                  <a:pt x="61" y="75"/>
                </a:cubicBezTo>
                <a:cubicBezTo>
                  <a:pt x="62" y="75"/>
                  <a:pt x="62" y="75"/>
                  <a:pt x="64" y="75"/>
                </a:cubicBezTo>
                <a:cubicBezTo>
                  <a:pt x="64" y="75"/>
                  <a:pt x="66" y="76"/>
                  <a:pt x="66" y="75"/>
                </a:cubicBezTo>
                <a:cubicBezTo>
                  <a:pt x="66" y="75"/>
                  <a:pt x="66" y="74"/>
                  <a:pt x="66" y="74"/>
                </a:cubicBezTo>
                <a:cubicBezTo>
                  <a:pt x="67" y="74"/>
                  <a:pt x="69" y="75"/>
                  <a:pt x="69" y="73"/>
                </a:cubicBezTo>
                <a:cubicBezTo>
                  <a:pt x="71" y="75"/>
                  <a:pt x="72" y="72"/>
                  <a:pt x="74" y="73"/>
                </a:cubicBezTo>
                <a:cubicBezTo>
                  <a:pt x="74" y="72"/>
                  <a:pt x="74" y="72"/>
                  <a:pt x="74" y="71"/>
                </a:cubicBezTo>
                <a:cubicBezTo>
                  <a:pt x="74" y="71"/>
                  <a:pt x="74" y="71"/>
                  <a:pt x="75" y="70"/>
                </a:cubicBezTo>
                <a:cubicBezTo>
                  <a:pt x="75" y="70"/>
                  <a:pt x="75" y="69"/>
                  <a:pt x="75" y="69"/>
                </a:cubicBezTo>
                <a:cubicBezTo>
                  <a:pt x="76" y="68"/>
                  <a:pt x="75" y="68"/>
                  <a:pt x="75" y="67"/>
                </a:cubicBezTo>
                <a:cubicBezTo>
                  <a:pt x="76" y="68"/>
                  <a:pt x="77" y="67"/>
                  <a:pt x="77" y="66"/>
                </a:cubicBezTo>
                <a:cubicBezTo>
                  <a:pt x="77" y="67"/>
                  <a:pt x="77" y="67"/>
                  <a:pt x="77" y="67"/>
                </a:cubicBezTo>
                <a:cubicBezTo>
                  <a:pt x="78" y="67"/>
                  <a:pt x="78" y="67"/>
                  <a:pt x="79" y="67"/>
                </a:cubicBezTo>
                <a:cubicBezTo>
                  <a:pt x="80" y="67"/>
                  <a:pt x="80" y="66"/>
                  <a:pt x="80" y="66"/>
                </a:cubicBezTo>
                <a:cubicBezTo>
                  <a:pt x="80" y="65"/>
                  <a:pt x="80" y="64"/>
                  <a:pt x="79" y="64"/>
                </a:cubicBezTo>
                <a:cubicBezTo>
                  <a:pt x="80" y="64"/>
                  <a:pt x="80" y="63"/>
                  <a:pt x="80" y="62"/>
                </a:cubicBezTo>
                <a:cubicBezTo>
                  <a:pt x="81" y="62"/>
                  <a:pt x="81" y="62"/>
                  <a:pt x="81" y="61"/>
                </a:cubicBezTo>
                <a:cubicBezTo>
                  <a:pt x="82" y="63"/>
                  <a:pt x="82" y="61"/>
                  <a:pt x="84" y="61"/>
                </a:cubicBezTo>
                <a:cubicBezTo>
                  <a:pt x="85" y="61"/>
                  <a:pt x="85" y="62"/>
                  <a:pt x="85" y="62"/>
                </a:cubicBezTo>
                <a:cubicBezTo>
                  <a:pt x="85" y="62"/>
                  <a:pt x="85" y="61"/>
                  <a:pt x="86" y="61"/>
                </a:cubicBezTo>
                <a:cubicBezTo>
                  <a:pt x="86" y="61"/>
                  <a:pt x="87" y="62"/>
                  <a:pt x="87" y="62"/>
                </a:cubicBezTo>
                <a:cubicBezTo>
                  <a:pt x="87" y="62"/>
                  <a:pt x="87" y="61"/>
                  <a:pt x="87" y="61"/>
                </a:cubicBezTo>
                <a:cubicBezTo>
                  <a:pt x="87" y="61"/>
                  <a:pt x="88" y="61"/>
                  <a:pt x="88" y="61"/>
                </a:cubicBezTo>
                <a:cubicBezTo>
                  <a:pt x="89" y="60"/>
                  <a:pt x="89" y="60"/>
                  <a:pt x="90" y="60"/>
                </a:cubicBezTo>
                <a:cubicBezTo>
                  <a:pt x="89" y="59"/>
                  <a:pt x="90" y="58"/>
                  <a:pt x="89" y="58"/>
                </a:cubicBezTo>
                <a:cubicBezTo>
                  <a:pt x="88" y="57"/>
                  <a:pt x="88" y="58"/>
                  <a:pt x="88" y="59"/>
                </a:cubicBezTo>
                <a:cubicBezTo>
                  <a:pt x="87" y="59"/>
                  <a:pt x="87" y="58"/>
                  <a:pt x="87" y="58"/>
                </a:cubicBezTo>
                <a:cubicBezTo>
                  <a:pt x="86" y="58"/>
                  <a:pt x="86" y="59"/>
                  <a:pt x="86" y="59"/>
                </a:cubicBezTo>
                <a:cubicBezTo>
                  <a:pt x="86" y="59"/>
                  <a:pt x="86" y="58"/>
                  <a:pt x="85" y="58"/>
                </a:cubicBezTo>
                <a:cubicBezTo>
                  <a:pt x="85" y="58"/>
                  <a:pt x="84" y="59"/>
                  <a:pt x="83" y="59"/>
                </a:cubicBezTo>
                <a:cubicBezTo>
                  <a:pt x="83" y="59"/>
                  <a:pt x="83" y="59"/>
                  <a:pt x="82" y="59"/>
                </a:cubicBezTo>
                <a:cubicBezTo>
                  <a:pt x="80" y="59"/>
                  <a:pt x="78" y="60"/>
                  <a:pt x="77" y="59"/>
                </a:cubicBezTo>
                <a:cubicBezTo>
                  <a:pt x="77" y="59"/>
                  <a:pt x="77" y="58"/>
                  <a:pt x="77" y="58"/>
                </a:cubicBezTo>
                <a:cubicBezTo>
                  <a:pt x="76" y="58"/>
                  <a:pt x="75" y="58"/>
                  <a:pt x="75" y="58"/>
                </a:cubicBezTo>
                <a:cubicBezTo>
                  <a:pt x="76" y="55"/>
                  <a:pt x="75" y="54"/>
                  <a:pt x="75" y="51"/>
                </a:cubicBezTo>
                <a:cubicBezTo>
                  <a:pt x="76" y="50"/>
                  <a:pt x="78" y="49"/>
                  <a:pt x="79" y="50"/>
                </a:cubicBezTo>
                <a:cubicBezTo>
                  <a:pt x="79" y="49"/>
                  <a:pt x="79" y="49"/>
                  <a:pt x="79" y="48"/>
                </a:cubicBezTo>
                <a:cubicBezTo>
                  <a:pt x="81" y="48"/>
                  <a:pt x="81" y="45"/>
                  <a:pt x="81" y="45"/>
                </a:cubicBezTo>
                <a:cubicBezTo>
                  <a:pt x="81" y="44"/>
                  <a:pt x="82" y="45"/>
                  <a:pt x="82" y="45"/>
                </a:cubicBezTo>
                <a:cubicBezTo>
                  <a:pt x="82" y="44"/>
                  <a:pt x="80" y="43"/>
                  <a:pt x="81" y="42"/>
                </a:cubicBezTo>
                <a:cubicBezTo>
                  <a:pt x="80" y="43"/>
                  <a:pt x="79" y="42"/>
                  <a:pt x="78" y="42"/>
                </a:cubicBezTo>
                <a:cubicBezTo>
                  <a:pt x="77" y="42"/>
                  <a:pt x="76" y="43"/>
                  <a:pt x="75" y="43"/>
                </a:cubicBezTo>
                <a:cubicBezTo>
                  <a:pt x="74" y="43"/>
                  <a:pt x="74" y="46"/>
                  <a:pt x="75" y="45"/>
                </a:cubicBezTo>
                <a:cubicBezTo>
                  <a:pt x="74" y="46"/>
                  <a:pt x="74" y="45"/>
                  <a:pt x="74" y="45"/>
                </a:cubicBezTo>
                <a:cubicBezTo>
                  <a:pt x="73" y="45"/>
                  <a:pt x="74" y="46"/>
                  <a:pt x="74" y="47"/>
                </a:cubicBezTo>
                <a:cubicBezTo>
                  <a:pt x="74" y="47"/>
                  <a:pt x="72" y="48"/>
                  <a:pt x="72" y="49"/>
                </a:cubicBezTo>
                <a:cubicBezTo>
                  <a:pt x="71" y="50"/>
                  <a:pt x="71" y="51"/>
                  <a:pt x="68" y="51"/>
                </a:cubicBezTo>
                <a:cubicBezTo>
                  <a:pt x="68" y="52"/>
                  <a:pt x="69" y="52"/>
                  <a:pt x="68" y="52"/>
                </a:cubicBezTo>
                <a:cubicBezTo>
                  <a:pt x="68" y="53"/>
                  <a:pt x="68" y="53"/>
                  <a:pt x="68" y="53"/>
                </a:cubicBezTo>
                <a:cubicBezTo>
                  <a:pt x="68" y="54"/>
                  <a:pt x="67" y="53"/>
                  <a:pt x="67" y="53"/>
                </a:cubicBezTo>
                <a:cubicBezTo>
                  <a:pt x="67" y="54"/>
                  <a:pt x="67" y="54"/>
                  <a:pt x="67" y="54"/>
                </a:cubicBezTo>
                <a:cubicBezTo>
                  <a:pt x="67" y="54"/>
                  <a:pt x="67" y="54"/>
                  <a:pt x="67" y="54"/>
                </a:cubicBezTo>
                <a:cubicBezTo>
                  <a:pt x="66" y="55"/>
                  <a:pt x="67" y="56"/>
                  <a:pt x="66" y="56"/>
                </a:cubicBezTo>
                <a:cubicBezTo>
                  <a:pt x="66" y="57"/>
                  <a:pt x="67" y="57"/>
                  <a:pt x="67" y="57"/>
                </a:cubicBezTo>
                <a:cubicBezTo>
                  <a:pt x="67" y="58"/>
                  <a:pt x="68" y="59"/>
                  <a:pt x="69" y="59"/>
                </a:cubicBezTo>
                <a:cubicBezTo>
                  <a:pt x="69" y="59"/>
                  <a:pt x="69" y="60"/>
                  <a:pt x="70" y="60"/>
                </a:cubicBezTo>
                <a:cubicBezTo>
                  <a:pt x="70" y="60"/>
                  <a:pt x="69" y="60"/>
                  <a:pt x="69" y="61"/>
                </a:cubicBezTo>
                <a:cubicBezTo>
                  <a:pt x="69" y="61"/>
                  <a:pt x="69" y="62"/>
                  <a:pt x="68" y="62"/>
                </a:cubicBezTo>
                <a:cubicBezTo>
                  <a:pt x="68" y="63"/>
                  <a:pt x="67" y="63"/>
                  <a:pt x="67" y="63"/>
                </a:cubicBezTo>
                <a:cubicBezTo>
                  <a:pt x="66" y="65"/>
                  <a:pt x="65" y="65"/>
                  <a:pt x="65" y="68"/>
                </a:cubicBezTo>
                <a:cubicBezTo>
                  <a:pt x="64" y="67"/>
                  <a:pt x="64" y="70"/>
                  <a:pt x="62" y="70"/>
                </a:cubicBezTo>
                <a:cubicBezTo>
                  <a:pt x="62" y="70"/>
                  <a:pt x="62" y="70"/>
                  <a:pt x="62" y="70"/>
                </a:cubicBezTo>
                <a:cubicBezTo>
                  <a:pt x="61" y="70"/>
                  <a:pt x="62" y="71"/>
                  <a:pt x="61" y="71"/>
                </a:cubicBezTo>
                <a:cubicBezTo>
                  <a:pt x="61" y="71"/>
                  <a:pt x="60" y="70"/>
                  <a:pt x="59" y="72"/>
                </a:cubicBezTo>
                <a:cubicBezTo>
                  <a:pt x="58" y="72"/>
                  <a:pt x="59" y="70"/>
                  <a:pt x="59" y="69"/>
                </a:cubicBezTo>
                <a:cubicBezTo>
                  <a:pt x="58" y="69"/>
                  <a:pt x="58" y="67"/>
                  <a:pt x="58" y="67"/>
                </a:cubicBezTo>
                <a:cubicBezTo>
                  <a:pt x="57" y="67"/>
                  <a:pt x="58" y="66"/>
                  <a:pt x="56" y="66"/>
                </a:cubicBezTo>
                <a:cubicBezTo>
                  <a:pt x="57" y="65"/>
                  <a:pt x="56" y="65"/>
                  <a:pt x="55" y="64"/>
                </a:cubicBezTo>
                <a:cubicBezTo>
                  <a:pt x="55" y="64"/>
                  <a:pt x="56" y="64"/>
                  <a:pt x="56" y="63"/>
                </a:cubicBezTo>
                <a:cubicBezTo>
                  <a:pt x="56" y="62"/>
                  <a:pt x="55" y="61"/>
                  <a:pt x="54" y="60"/>
                </a:cubicBezTo>
                <a:cubicBezTo>
                  <a:pt x="52" y="61"/>
                  <a:pt x="53" y="63"/>
                  <a:pt x="50" y="63"/>
                </a:cubicBezTo>
                <a:cubicBezTo>
                  <a:pt x="50" y="63"/>
                  <a:pt x="51" y="63"/>
                  <a:pt x="51" y="63"/>
                </a:cubicBezTo>
                <a:cubicBezTo>
                  <a:pt x="51" y="64"/>
                  <a:pt x="51" y="64"/>
                  <a:pt x="50" y="64"/>
                </a:cubicBezTo>
                <a:cubicBezTo>
                  <a:pt x="49" y="64"/>
                  <a:pt x="50" y="65"/>
                  <a:pt x="49" y="65"/>
                </a:cubicBezTo>
                <a:cubicBezTo>
                  <a:pt x="47" y="66"/>
                  <a:pt x="47" y="63"/>
                  <a:pt x="45" y="64"/>
                </a:cubicBezTo>
                <a:cubicBezTo>
                  <a:pt x="45" y="63"/>
                  <a:pt x="46" y="63"/>
                  <a:pt x="46" y="63"/>
                </a:cubicBezTo>
                <a:cubicBezTo>
                  <a:pt x="47" y="62"/>
                  <a:pt x="45" y="61"/>
                  <a:pt x="46" y="60"/>
                </a:cubicBezTo>
                <a:cubicBezTo>
                  <a:pt x="46" y="60"/>
                  <a:pt x="45" y="60"/>
                  <a:pt x="45" y="59"/>
                </a:cubicBezTo>
                <a:cubicBezTo>
                  <a:pt x="44" y="59"/>
                  <a:pt x="45" y="59"/>
                  <a:pt x="45" y="59"/>
                </a:cubicBezTo>
                <a:cubicBezTo>
                  <a:pt x="45" y="58"/>
                  <a:pt x="44" y="58"/>
                  <a:pt x="44" y="58"/>
                </a:cubicBezTo>
                <a:cubicBezTo>
                  <a:pt x="44" y="57"/>
                  <a:pt x="45" y="54"/>
                  <a:pt x="44" y="56"/>
                </a:cubicBezTo>
                <a:cubicBezTo>
                  <a:pt x="43" y="56"/>
                  <a:pt x="44" y="55"/>
                  <a:pt x="45" y="55"/>
                </a:cubicBezTo>
                <a:cubicBezTo>
                  <a:pt x="44" y="54"/>
                  <a:pt x="46" y="53"/>
                  <a:pt x="45" y="53"/>
                </a:cubicBezTo>
                <a:cubicBezTo>
                  <a:pt x="45" y="52"/>
                  <a:pt x="47" y="53"/>
                  <a:pt x="47" y="52"/>
                </a:cubicBezTo>
                <a:cubicBezTo>
                  <a:pt x="47" y="51"/>
                  <a:pt x="47" y="52"/>
                  <a:pt x="47" y="52"/>
                </a:cubicBezTo>
                <a:cubicBezTo>
                  <a:pt x="47" y="52"/>
                  <a:pt x="47" y="51"/>
                  <a:pt x="48" y="51"/>
                </a:cubicBezTo>
                <a:cubicBezTo>
                  <a:pt x="49" y="51"/>
                  <a:pt x="48" y="50"/>
                  <a:pt x="48" y="50"/>
                </a:cubicBezTo>
                <a:cubicBezTo>
                  <a:pt x="49" y="50"/>
                  <a:pt x="50" y="50"/>
                  <a:pt x="50" y="49"/>
                </a:cubicBezTo>
                <a:cubicBezTo>
                  <a:pt x="51" y="48"/>
                  <a:pt x="50" y="50"/>
                  <a:pt x="52" y="50"/>
                </a:cubicBezTo>
                <a:cubicBezTo>
                  <a:pt x="52" y="49"/>
                  <a:pt x="52" y="49"/>
                  <a:pt x="51" y="49"/>
                </a:cubicBezTo>
                <a:cubicBezTo>
                  <a:pt x="52" y="48"/>
                  <a:pt x="54" y="49"/>
                  <a:pt x="55" y="47"/>
                </a:cubicBezTo>
                <a:cubicBezTo>
                  <a:pt x="55" y="47"/>
                  <a:pt x="55" y="47"/>
                  <a:pt x="55" y="46"/>
                </a:cubicBezTo>
                <a:cubicBezTo>
                  <a:pt x="55" y="46"/>
                  <a:pt x="56" y="47"/>
                  <a:pt x="56" y="46"/>
                </a:cubicBezTo>
                <a:cubicBezTo>
                  <a:pt x="56" y="46"/>
                  <a:pt x="56" y="45"/>
                  <a:pt x="56" y="45"/>
                </a:cubicBezTo>
                <a:cubicBezTo>
                  <a:pt x="56" y="45"/>
                  <a:pt x="57" y="44"/>
                  <a:pt x="57" y="44"/>
                </a:cubicBezTo>
                <a:cubicBezTo>
                  <a:pt x="57" y="44"/>
                  <a:pt x="57" y="43"/>
                  <a:pt x="57" y="42"/>
                </a:cubicBezTo>
                <a:cubicBezTo>
                  <a:pt x="57" y="42"/>
                  <a:pt x="58" y="43"/>
                  <a:pt x="58" y="43"/>
                </a:cubicBezTo>
                <a:cubicBezTo>
                  <a:pt x="58" y="43"/>
                  <a:pt x="59" y="40"/>
                  <a:pt x="59" y="40"/>
                </a:cubicBezTo>
                <a:cubicBezTo>
                  <a:pt x="60" y="41"/>
                  <a:pt x="60" y="40"/>
                  <a:pt x="61" y="39"/>
                </a:cubicBezTo>
                <a:cubicBezTo>
                  <a:pt x="61" y="39"/>
                  <a:pt x="62" y="38"/>
                  <a:pt x="61" y="38"/>
                </a:cubicBezTo>
                <a:cubicBezTo>
                  <a:pt x="61" y="37"/>
                  <a:pt x="62" y="38"/>
                  <a:pt x="62" y="37"/>
                </a:cubicBezTo>
                <a:cubicBezTo>
                  <a:pt x="62" y="36"/>
                  <a:pt x="63" y="36"/>
                  <a:pt x="64" y="36"/>
                </a:cubicBezTo>
                <a:cubicBezTo>
                  <a:pt x="64" y="36"/>
                  <a:pt x="64" y="35"/>
                  <a:pt x="63" y="35"/>
                </a:cubicBezTo>
                <a:cubicBezTo>
                  <a:pt x="65" y="34"/>
                  <a:pt x="66" y="34"/>
                  <a:pt x="67" y="34"/>
                </a:cubicBezTo>
                <a:cubicBezTo>
                  <a:pt x="67" y="33"/>
                  <a:pt x="67" y="33"/>
                  <a:pt x="67" y="32"/>
                </a:cubicBezTo>
                <a:cubicBezTo>
                  <a:pt x="67" y="32"/>
                  <a:pt x="68" y="31"/>
                  <a:pt x="68" y="31"/>
                </a:cubicBezTo>
                <a:cubicBezTo>
                  <a:pt x="69" y="29"/>
                  <a:pt x="70" y="31"/>
                  <a:pt x="70" y="29"/>
                </a:cubicBezTo>
                <a:cubicBezTo>
                  <a:pt x="72" y="28"/>
                  <a:pt x="74" y="30"/>
                  <a:pt x="74" y="27"/>
                </a:cubicBezTo>
                <a:cubicBezTo>
                  <a:pt x="74" y="28"/>
                  <a:pt x="76" y="27"/>
                  <a:pt x="78" y="28"/>
                </a:cubicBezTo>
                <a:cubicBezTo>
                  <a:pt x="78" y="27"/>
                  <a:pt x="79" y="27"/>
                  <a:pt x="79" y="26"/>
                </a:cubicBezTo>
                <a:cubicBezTo>
                  <a:pt x="80" y="26"/>
                  <a:pt x="81" y="28"/>
                  <a:pt x="81" y="26"/>
                </a:cubicBezTo>
                <a:cubicBezTo>
                  <a:pt x="82" y="26"/>
                  <a:pt x="82" y="27"/>
                  <a:pt x="83" y="27"/>
                </a:cubicBezTo>
                <a:cubicBezTo>
                  <a:pt x="84" y="27"/>
                  <a:pt x="83" y="26"/>
                  <a:pt x="85" y="26"/>
                </a:cubicBezTo>
                <a:cubicBezTo>
                  <a:pt x="85" y="27"/>
                  <a:pt x="84" y="27"/>
                  <a:pt x="84" y="28"/>
                </a:cubicBezTo>
                <a:cubicBezTo>
                  <a:pt x="85" y="28"/>
                  <a:pt x="87" y="26"/>
                  <a:pt x="88" y="27"/>
                </a:cubicBezTo>
                <a:cubicBezTo>
                  <a:pt x="89" y="27"/>
                  <a:pt x="88" y="27"/>
                  <a:pt x="89" y="27"/>
                </a:cubicBezTo>
                <a:cubicBezTo>
                  <a:pt x="90" y="27"/>
                  <a:pt x="91" y="28"/>
                  <a:pt x="92" y="27"/>
                </a:cubicBezTo>
                <a:cubicBezTo>
                  <a:pt x="92" y="28"/>
                  <a:pt x="93" y="28"/>
                  <a:pt x="92" y="29"/>
                </a:cubicBezTo>
                <a:cubicBezTo>
                  <a:pt x="92" y="29"/>
                  <a:pt x="92" y="29"/>
                  <a:pt x="91" y="29"/>
                </a:cubicBezTo>
                <a:cubicBezTo>
                  <a:pt x="91" y="29"/>
                  <a:pt x="91" y="30"/>
                  <a:pt x="90" y="30"/>
                </a:cubicBezTo>
                <a:cubicBezTo>
                  <a:pt x="91" y="31"/>
                  <a:pt x="94" y="30"/>
                  <a:pt x="95" y="30"/>
                </a:cubicBezTo>
                <a:cubicBezTo>
                  <a:pt x="96" y="29"/>
                  <a:pt x="96" y="30"/>
                  <a:pt x="96" y="31"/>
                </a:cubicBezTo>
                <a:cubicBezTo>
                  <a:pt x="96" y="31"/>
                  <a:pt x="98" y="30"/>
                  <a:pt x="97" y="31"/>
                </a:cubicBezTo>
                <a:cubicBezTo>
                  <a:pt x="101" y="30"/>
                  <a:pt x="102" y="33"/>
                  <a:pt x="103" y="32"/>
                </a:cubicBezTo>
                <a:cubicBezTo>
                  <a:pt x="103" y="33"/>
                  <a:pt x="105" y="33"/>
                  <a:pt x="105" y="34"/>
                </a:cubicBezTo>
                <a:cubicBezTo>
                  <a:pt x="106" y="34"/>
                  <a:pt x="108" y="34"/>
                  <a:pt x="107" y="35"/>
                </a:cubicBezTo>
                <a:cubicBezTo>
                  <a:pt x="108" y="35"/>
                  <a:pt x="109" y="35"/>
                  <a:pt x="110" y="35"/>
                </a:cubicBezTo>
                <a:cubicBezTo>
                  <a:pt x="110" y="35"/>
                  <a:pt x="109" y="36"/>
                  <a:pt x="110" y="36"/>
                </a:cubicBezTo>
                <a:cubicBezTo>
                  <a:pt x="110" y="36"/>
                  <a:pt x="111" y="36"/>
                  <a:pt x="111" y="36"/>
                </a:cubicBezTo>
                <a:cubicBezTo>
                  <a:pt x="111" y="38"/>
                  <a:pt x="111" y="38"/>
                  <a:pt x="111" y="40"/>
                </a:cubicBezTo>
                <a:cubicBezTo>
                  <a:pt x="110" y="39"/>
                  <a:pt x="109" y="41"/>
                  <a:pt x="108" y="41"/>
                </a:cubicBezTo>
                <a:cubicBezTo>
                  <a:pt x="107" y="41"/>
                  <a:pt x="105" y="39"/>
                  <a:pt x="104" y="41"/>
                </a:cubicBezTo>
                <a:cubicBezTo>
                  <a:pt x="103" y="41"/>
                  <a:pt x="104" y="40"/>
                  <a:pt x="103" y="40"/>
                </a:cubicBezTo>
                <a:cubicBezTo>
                  <a:pt x="103" y="40"/>
                  <a:pt x="103" y="40"/>
                  <a:pt x="103" y="40"/>
                </a:cubicBezTo>
                <a:cubicBezTo>
                  <a:pt x="102" y="40"/>
                  <a:pt x="102" y="39"/>
                  <a:pt x="102" y="39"/>
                </a:cubicBezTo>
                <a:cubicBezTo>
                  <a:pt x="101" y="39"/>
                  <a:pt x="100" y="41"/>
                  <a:pt x="100" y="39"/>
                </a:cubicBezTo>
                <a:cubicBezTo>
                  <a:pt x="98" y="39"/>
                  <a:pt x="99" y="39"/>
                  <a:pt x="97" y="39"/>
                </a:cubicBezTo>
                <a:cubicBezTo>
                  <a:pt x="97" y="40"/>
                  <a:pt x="97" y="40"/>
                  <a:pt x="98" y="40"/>
                </a:cubicBezTo>
                <a:cubicBezTo>
                  <a:pt x="99" y="40"/>
                  <a:pt x="99" y="40"/>
                  <a:pt x="99" y="40"/>
                </a:cubicBezTo>
                <a:cubicBezTo>
                  <a:pt x="98" y="41"/>
                  <a:pt x="99" y="41"/>
                  <a:pt x="100" y="41"/>
                </a:cubicBezTo>
                <a:cubicBezTo>
                  <a:pt x="100" y="41"/>
                  <a:pt x="100" y="42"/>
                  <a:pt x="100" y="42"/>
                </a:cubicBezTo>
                <a:cubicBezTo>
                  <a:pt x="100" y="43"/>
                  <a:pt x="101" y="43"/>
                  <a:pt x="101" y="43"/>
                </a:cubicBezTo>
                <a:cubicBezTo>
                  <a:pt x="101" y="44"/>
                  <a:pt x="102" y="45"/>
                  <a:pt x="102" y="46"/>
                </a:cubicBezTo>
                <a:cubicBezTo>
                  <a:pt x="102" y="48"/>
                  <a:pt x="105" y="47"/>
                  <a:pt x="105" y="48"/>
                </a:cubicBezTo>
                <a:cubicBezTo>
                  <a:pt x="105" y="48"/>
                  <a:pt x="105" y="47"/>
                  <a:pt x="106" y="47"/>
                </a:cubicBezTo>
                <a:cubicBezTo>
                  <a:pt x="106" y="46"/>
                  <a:pt x="104" y="46"/>
                  <a:pt x="103" y="45"/>
                </a:cubicBezTo>
                <a:cubicBezTo>
                  <a:pt x="103" y="44"/>
                  <a:pt x="106" y="45"/>
                  <a:pt x="107" y="45"/>
                </a:cubicBezTo>
                <a:cubicBezTo>
                  <a:pt x="107" y="46"/>
                  <a:pt x="109" y="44"/>
                  <a:pt x="109" y="46"/>
                </a:cubicBezTo>
                <a:cubicBezTo>
                  <a:pt x="110" y="47"/>
                  <a:pt x="111" y="45"/>
                  <a:pt x="110" y="46"/>
                </a:cubicBezTo>
                <a:cubicBezTo>
                  <a:pt x="112" y="46"/>
                  <a:pt x="111" y="44"/>
                  <a:pt x="110" y="44"/>
                </a:cubicBezTo>
                <a:cubicBezTo>
                  <a:pt x="110" y="43"/>
                  <a:pt x="111" y="43"/>
                  <a:pt x="112" y="43"/>
                </a:cubicBezTo>
                <a:cubicBezTo>
                  <a:pt x="113" y="42"/>
                  <a:pt x="113" y="41"/>
                  <a:pt x="113" y="40"/>
                </a:cubicBezTo>
                <a:cubicBezTo>
                  <a:pt x="115" y="40"/>
                  <a:pt x="116" y="41"/>
                  <a:pt x="117" y="41"/>
                </a:cubicBezTo>
                <a:cubicBezTo>
                  <a:pt x="118" y="41"/>
                  <a:pt x="118" y="40"/>
                  <a:pt x="118" y="40"/>
                </a:cubicBezTo>
                <a:cubicBezTo>
                  <a:pt x="118" y="40"/>
                  <a:pt x="118" y="39"/>
                  <a:pt x="117" y="39"/>
                </a:cubicBezTo>
                <a:cubicBezTo>
                  <a:pt x="118" y="37"/>
                  <a:pt x="118" y="36"/>
                  <a:pt x="118" y="34"/>
                </a:cubicBezTo>
                <a:cubicBezTo>
                  <a:pt x="119" y="34"/>
                  <a:pt x="121" y="34"/>
                  <a:pt x="122" y="34"/>
                </a:cubicBezTo>
                <a:cubicBezTo>
                  <a:pt x="122" y="34"/>
                  <a:pt x="123" y="34"/>
                  <a:pt x="123" y="36"/>
                </a:cubicBezTo>
                <a:cubicBezTo>
                  <a:pt x="122" y="36"/>
                  <a:pt x="121" y="36"/>
                  <a:pt x="120" y="36"/>
                </a:cubicBezTo>
                <a:cubicBezTo>
                  <a:pt x="120" y="36"/>
                  <a:pt x="120" y="37"/>
                  <a:pt x="120" y="37"/>
                </a:cubicBezTo>
                <a:cubicBezTo>
                  <a:pt x="121" y="38"/>
                  <a:pt x="122" y="37"/>
                  <a:pt x="123" y="38"/>
                </a:cubicBezTo>
                <a:cubicBezTo>
                  <a:pt x="123" y="38"/>
                  <a:pt x="121" y="38"/>
                  <a:pt x="121" y="38"/>
                </a:cubicBezTo>
                <a:cubicBezTo>
                  <a:pt x="121" y="39"/>
                  <a:pt x="123" y="38"/>
                  <a:pt x="123" y="39"/>
                </a:cubicBezTo>
                <a:cubicBezTo>
                  <a:pt x="124" y="38"/>
                  <a:pt x="125" y="38"/>
                  <a:pt x="125" y="37"/>
                </a:cubicBezTo>
                <a:cubicBezTo>
                  <a:pt x="126" y="37"/>
                  <a:pt x="126" y="37"/>
                  <a:pt x="126" y="36"/>
                </a:cubicBezTo>
                <a:cubicBezTo>
                  <a:pt x="128" y="37"/>
                  <a:pt x="128" y="35"/>
                  <a:pt x="130" y="35"/>
                </a:cubicBezTo>
                <a:cubicBezTo>
                  <a:pt x="130" y="35"/>
                  <a:pt x="131" y="35"/>
                  <a:pt x="131" y="34"/>
                </a:cubicBezTo>
                <a:cubicBezTo>
                  <a:pt x="131" y="34"/>
                  <a:pt x="132" y="33"/>
                  <a:pt x="132" y="33"/>
                </a:cubicBezTo>
                <a:cubicBezTo>
                  <a:pt x="134" y="34"/>
                  <a:pt x="135" y="32"/>
                  <a:pt x="137" y="32"/>
                </a:cubicBezTo>
                <a:cubicBezTo>
                  <a:pt x="137" y="33"/>
                  <a:pt x="137" y="33"/>
                  <a:pt x="137" y="34"/>
                </a:cubicBezTo>
                <a:cubicBezTo>
                  <a:pt x="139" y="34"/>
                  <a:pt x="140" y="34"/>
                  <a:pt x="141" y="33"/>
                </a:cubicBezTo>
                <a:cubicBezTo>
                  <a:pt x="141" y="33"/>
                  <a:pt x="142" y="33"/>
                  <a:pt x="142" y="33"/>
                </a:cubicBezTo>
                <a:cubicBezTo>
                  <a:pt x="142" y="33"/>
                  <a:pt x="142" y="33"/>
                  <a:pt x="142" y="33"/>
                </a:cubicBezTo>
                <a:cubicBezTo>
                  <a:pt x="143" y="33"/>
                  <a:pt x="145" y="33"/>
                  <a:pt x="145" y="31"/>
                </a:cubicBezTo>
                <a:cubicBezTo>
                  <a:pt x="146" y="32"/>
                  <a:pt x="148" y="32"/>
                  <a:pt x="148" y="33"/>
                </a:cubicBezTo>
                <a:cubicBezTo>
                  <a:pt x="149" y="33"/>
                  <a:pt x="149" y="33"/>
                  <a:pt x="150" y="32"/>
                </a:cubicBezTo>
                <a:cubicBezTo>
                  <a:pt x="150" y="31"/>
                  <a:pt x="148" y="31"/>
                  <a:pt x="149" y="31"/>
                </a:cubicBezTo>
                <a:cubicBezTo>
                  <a:pt x="148" y="29"/>
                  <a:pt x="146" y="30"/>
                  <a:pt x="147" y="27"/>
                </a:cubicBezTo>
                <a:cubicBezTo>
                  <a:pt x="148" y="28"/>
                  <a:pt x="148" y="28"/>
                  <a:pt x="149" y="29"/>
                </a:cubicBezTo>
                <a:cubicBezTo>
                  <a:pt x="150" y="29"/>
                  <a:pt x="151" y="30"/>
                  <a:pt x="152" y="30"/>
                </a:cubicBezTo>
                <a:cubicBezTo>
                  <a:pt x="152" y="30"/>
                  <a:pt x="153" y="29"/>
                  <a:pt x="152" y="29"/>
                </a:cubicBezTo>
                <a:cubicBezTo>
                  <a:pt x="153" y="29"/>
                  <a:pt x="153" y="30"/>
                  <a:pt x="153" y="29"/>
                </a:cubicBezTo>
                <a:cubicBezTo>
                  <a:pt x="154" y="29"/>
                  <a:pt x="154" y="30"/>
                  <a:pt x="154" y="30"/>
                </a:cubicBezTo>
                <a:cubicBezTo>
                  <a:pt x="155" y="30"/>
                  <a:pt x="156" y="30"/>
                  <a:pt x="156" y="31"/>
                </a:cubicBezTo>
                <a:cubicBezTo>
                  <a:pt x="157" y="30"/>
                  <a:pt x="158" y="31"/>
                  <a:pt x="159" y="31"/>
                </a:cubicBezTo>
                <a:cubicBezTo>
                  <a:pt x="159" y="32"/>
                  <a:pt x="161" y="31"/>
                  <a:pt x="160" y="32"/>
                </a:cubicBezTo>
                <a:cubicBezTo>
                  <a:pt x="161" y="32"/>
                  <a:pt x="162" y="33"/>
                  <a:pt x="162" y="33"/>
                </a:cubicBezTo>
                <a:cubicBezTo>
                  <a:pt x="163" y="33"/>
                  <a:pt x="163" y="34"/>
                  <a:pt x="165" y="34"/>
                </a:cubicBezTo>
                <a:cubicBezTo>
                  <a:pt x="166" y="31"/>
                  <a:pt x="162" y="32"/>
                  <a:pt x="163" y="30"/>
                </a:cubicBezTo>
                <a:cubicBezTo>
                  <a:pt x="163" y="29"/>
                  <a:pt x="163" y="30"/>
                  <a:pt x="162" y="30"/>
                </a:cubicBezTo>
                <a:cubicBezTo>
                  <a:pt x="162" y="29"/>
                  <a:pt x="163" y="28"/>
                  <a:pt x="162" y="27"/>
                </a:cubicBezTo>
                <a:cubicBezTo>
                  <a:pt x="162" y="26"/>
                  <a:pt x="162" y="27"/>
                  <a:pt x="161" y="26"/>
                </a:cubicBezTo>
                <a:cubicBezTo>
                  <a:pt x="161" y="26"/>
                  <a:pt x="162" y="25"/>
                  <a:pt x="161" y="25"/>
                </a:cubicBezTo>
                <a:cubicBezTo>
                  <a:pt x="161" y="24"/>
                  <a:pt x="163" y="25"/>
                  <a:pt x="162" y="24"/>
                </a:cubicBezTo>
                <a:cubicBezTo>
                  <a:pt x="163" y="24"/>
                  <a:pt x="163" y="22"/>
                  <a:pt x="164" y="23"/>
                </a:cubicBezTo>
                <a:cubicBezTo>
                  <a:pt x="164" y="22"/>
                  <a:pt x="165" y="21"/>
                  <a:pt x="166" y="21"/>
                </a:cubicBezTo>
                <a:cubicBezTo>
                  <a:pt x="165" y="19"/>
                  <a:pt x="167" y="20"/>
                  <a:pt x="167" y="18"/>
                </a:cubicBezTo>
                <a:cubicBezTo>
                  <a:pt x="169" y="18"/>
                  <a:pt x="170" y="19"/>
                  <a:pt x="172" y="19"/>
                </a:cubicBezTo>
                <a:cubicBezTo>
                  <a:pt x="172" y="20"/>
                  <a:pt x="172" y="20"/>
                  <a:pt x="172" y="20"/>
                </a:cubicBezTo>
                <a:cubicBezTo>
                  <a:pt x="172" y="21"/>
                  <a:pt x="171" y="21"/>
                  <a:pt x="171" y="21"/>
                </a:cubicBezTo>
                <a:cubicBezTo>
                  <a:pt x="171" y="23"/>
                  <a:pt x="172" y="23"/>
                  <a:pt x="171" y="25"/>
                </a:cubicBezTo>
                <a:cubicBezTo>
                  <a:pt x="171" y="25"/>
                  <a:pt x="171" y="26"/>
                  <a:pt x="172" y="26"/>
                </a:cubicBezTo>
                <a:cubicBezTo>
                  <a:pt x="172" y="26"/>
                  <a:pt x="172" y="26"/>
                  <a:pt x="173" y="26"/>
                </a:cubicBezTo>
                <a:cubicBezTo>
                  <a:pt x="172" y="27"/>
                  <a:pt x="172" y="30"/>
                  <a:pt x="172" y="31"/>
                </a:cubicBezTo>
                <a:cubicBezTo>
                  <a:pt x="171" y="33"/>
                  <a:pt x="173" y="32"/>
                  <a:pt x="173" y="33"/>
                </a:cubicBezTo>
                <a:cubicBezTo>
                  <a:pt x="173" y="37"/>
                  <a:pt x="171" y="39"/>
                  <a:pt x="168" y="40"/>
                </a:cubicBezTo>
                <a:cubicBezTo>
                  <a:pt x="168" y="41"/>
                  <a:pt x="170" y="40"/>
                  <a:pt x="170" y="41"/>
                </a:cubicBezTo>
                <a:cubicBezTo>
                  <a:pt x="171" y="41"/>
                  <a:pt x="171" y="39"/>
                  <a:pt x="173" y="39"/>
                </a:cubicBezTo>
                <a:cubicBezTo>
                  <a:pt x="172" y="40"/>
                  <a:pt x="172" y="40"/>
                  <a:pt x="172" y="41"/>
                </a:cubicBezTo>
                <a:cubicBezTo>
                  <a:pt x="173" y="41"/>
                  <a:pt x="172" y="40"/>
                  <a:pt x="173" y="40"/>
                </a:cubicBezTo>
                <a:cubicBezTo>
                  <a:pt x="174" y="40"/>
                  <a:pt x="173" y="39"/>
                  <a:pt x="173" y="39"/>
                </a:cubicBezTo>
                <a:cubicBezTo>
                  <a:pt x="174" y="39"/>
                  <a:pt x="174" y="39"/>
                  <a:pt x="174" y="39"/>
                </a:cubicBezTo>
                <a:cubicBezTo>
                  <a:pt x="175" y="39"/>
                  <a:pt x="174" y="38"/>
                  <a:pt x="174" y="38"/>
                </a:cubicBezTo>
                <a:cubicBezTo>
                  <a:pt x="175" y="38"/>
                  <a:pt x="175" y="38"/>
                  <a:pt x="176" y="38"/>
                </a:cubicBezTo>
                <a:cubicBezTo>
                  <a:pt x="175" y="36"/>
                  <a:pt x="177" y="35"/>
                  <a:pt x="176" y="34"/>
                </a:cubicBezTo>
                <a:cubicBezTo>
                  <a:pt x="176" y="33"/>
                  <a:pt x="177" y="34"/>
                  <a:pt x="177" y="33"/>
                </a:cubicBezTo>
                <a:cubicBezTo>
                  <a:pt x="177" y="32"/>
                  <a:pt x="176" y="33"/>
                  <a:pt x="176" y="32"/>
                </a:cubicBezTo>
                <a:cubicBezTo>
                  <a:pt x="176" y="31"/>
                  <a:pt x="177" y="32"/>
                  <a:pt x="178" y="32"/>
                </a:cubicBezTo>
                <a:cubicBezTo>
                  <a:pt x="178" y="32"/>
                  <a:pt x="178" y="30"/>
                  <a:pt x="177" y="31"/>
                </a:cubicBezTo>
                <a:cubicBezTo>
                  <a:pt x="176" y="31"/>
                  <a:pt x="175" y="29"/>
                  <a:pt x="175" y="31"/>
                </a:cubicBezTo>
                <a:cubicBezTo>
                  <a:pt x="174" y="30"/>
                  <a:pt x="174" y="29"/>
                  <a:pt x="174" y="28"/>
                </a:cubicBezTo>
                <a:cubicBezTo>
                  <a:pt x="174" y="28"/>
                  <a:pt x="175" y="28"/>
                  <a:pt x="175" y="28"/>
                </a:cubicBezTo>
                <a:cubicBezTo>
                  <a:pt x="176" y="27"/>
                  <a:pt x="175" y="26"/>
                  <a:pt x="175" y="25"/>
                </a:cubicBezTo>
                <a:cubicBezTo>
                  <a:pt x="175" y="25"/>
                  <a:pt x="175" y="25"/>
                  <a:pt x="175" y="25"/>
                </a:cubicBezTo>
                <a:cubicBezTo>
                  <a:pt x="174" y="25"/>
                  <a:pt x="175" y="24"/>
                  <a:pt x="174" y="23"/>
                </a:cubicBezTo>
                <a:cubicBezTo>
                  <a:pt x="176" y="23"/>
                  <a:pt x="175" y="21"/>
                  <a:pt x="176" y="21"/>
                </a:cubicBezTo>
                <a:cubicBezTo>
                  <a:pt x="176" y="20"/>
                  <a:pt x="176" y="20"/>
                  <a:pt x="176" y="19"/>
                </a:cubicBezTo>
                <a:cubicBezTo>
                  <a:pt x="178" y="18"/>
                  <a:pt x="177" y="20"/>
                  <a:pt x="177" y="21"/>
                </a:cubicBezTo>
                <a:cubicBezTo>
                  <a:pt x="177" y="22"/>
                  <a:pt x="178" y="21"/>
                  <a:pt x="178" y="22"/>
                </a:cubicBezTo>
                <a:cubicBezTo>
                  <a:pt x="178" y="22"/>
                  <a:pt x="178" y="22"/>
                  <a:pt x="178" y="22"/>
                </a:cubicBezTo>
                <a:cubicBezTo>
                  <a:pt x="178" y="23"/>
                  <a:pt x="179" y="24"/>
                  <a:pt x="180" y="24"/>
                </a:cubicBezTo>
                <a:cubicBezTo>
                  <a:pt x="181" y="25"/>
                  <a:pt x="180" y="23"/>
                  <a:pt x="180" y="23"/>
                </a:cubicBezTo>
                <a:cubicBezTo>
                  <a:pt x="181" y="22"/>
                  <a:pt x="182" y="22"/>
                  <a:pt x="183" y="22"/>
                </a:cubicBezTo>
                <a:cubicBezTo>
                  <a:pt x="183" y="22"/>
                  <a:pt x="182" y="22"/>
                  <a:pt x="182" y="22"/>
                </a:cubicBezTo>
                <a:cubicBezTo>
                  <a:pt x="182" y="20"/>
                  <a:pt x="181" y="20"/>
                  <a:pt x="181" y="19"/>
                </a:cubicBezTo>
                <a:cubicBezTo>
                  <a:pt x="182" y="20"/>
                  <a:pt x="185" y="19"/>
                  <a:pt x="184" y="21"/>
                </a:cubicBezTo>
                <a:cubicBezTo>
                  <a:pt x="185" y="21"/>
                  <a:pt x="185" y="20"/>
                  <a:pt x="185" y="20"/>
                </a:cubicBezTo>
                <a:cubicBezTo>
                  <a:pt x="186" y="20"/>
                  <a:pt x="185" y="21"/>
                  <a:pt x="186" y="21"/>
                </a:cubicBezTo>
                <a:cubicBezTo>
                  <a:pt x="186" y="21"/>
                  <a:pt x="186" y="21"/>
                  <a:pt x="187" y="21"/>
                </a:cubicBezTo>
                <a:cubicBezTo>
                  <a:pt x="187" y="22"/>
                  <a:pt x="189" y="21"/>
                  <a:pt x="188" y="23"/>
                </a:cubicBezTo>
                <a:cubicBezTo>
                  <a:pt x="189" y="23"/>
                  <a:pt x="190" y="23"/>
                  <a:pt x="190" y="23"/>
                </a:cubicBezTo>
                <a:cubicBezTo>
                  <a:pt x="190" y="22"/>
                  <a:pt x="188" y="22"/>
                  <a:pt x="190" y="21"/>
                </a:cubicBezTo>
                <a:cubicBezTo>
                  <a:pt x="189" y="21"/>
                  <a:pt x="189" y="21"/>
                  <a:pt x="188" y="20"/>
                </a:cubicBezTo>
                <a:cubicBezTo>
                  <a:pt x="188" y="18"/>
                  <a:pt x="188" y="18"/>
                  <a:pt x="188" y="15"/>
                </a:cubicBezTo>
                <a:cubicBezTo>
                  <a:pt x="191" y="15"/>
                  <a:pt x="194" y="16"/>
                  <a:pt x="196" y="15"/>
                </a:cubicBezTo>
                <a:cubicBezTo>
                  <a:pt x="197" y="15"/>
                  <a:pt x="197" y="14"/>
                  <a:pt x="198" y="15"/>
                </a:cubicBezTo>
                <a:cubicBezTo>
                  <a:pt x="199" y="14"/>
                  <a:pt x="198" y="13"/>
                  <a:pt x="199" y="11"/>
                </a:cubicBezTo>
                <a:cubicBezTo>
                  <a:pt x="200" y="12"/>
                  <a:pt x="200" y="11"/>
                  <a:pt x="201" y="11"/>
                </a:cubicBezTo>
                <a:cubicBezTo>
                  <a:pt x="202" y="10"/>
                  <a:pt x="203" y="10"/>
                  <a:pt x="204" y="9"/>
                </a:cubicBezTo>
                <a:cubicBezTo>
                  <a:pt x="209" y="8"/>
                  <a:pt x="214" y="7"/>
                  <a:pt x="217" y="6"/>
                </a:cubicBezTo>
                <a:cubicBezTo>
                  <a:pt x="218" y="5"/>
                  <a:pt x="218" y="7"/>
                  <a:pt x="218" y="7"/>
                </a:cubicBezTo>
                <a:cubicBezTo>
                  <a:pt x="219" y="7"/>
                  <a:pt x="219" y="5"/>
                  <a:pt x="219" y="5"/>
                </a:cubicBezTo>
                <a:cubicBezTo>
                  <a:pt x="219" y="6"/>
                  <a:pt x="219" y="6"/>
                  <a:pt x="219" y="7"/>
                </a:cubicBezTo>
                <a:cubicBezTo>
                  <a:pt x="219" y="7"/>
                  <a:pt x="220" y="7"/>
                  <a:pt x="220" y="7"/>
                </a:cubicBezTo>
                <a:cubicBezTo>
                  <a:pt x="221" y="7"/>
                  <a:pt x="220" y="6"/>
                  <a:pt x="221" y="6"/>
                </a:cubicBezTo>
                <a:cubicBezTo>
                  <a:pt x="221" y="6"/>
                  <a:pt x="223" y="6"/>
                  <a:pt x="223" y="5"/>
                </a:cubicBezTo>
                <a:cubicBezTo>
                  <a:pt x="224" y="5"/>
                  <a:pt x="224" y="5"/>
                  <a:pt x="224" y="4"/>
                </a:cubicBezTo>
                <a:cubicBezTo>
                  <a:pt x="225" y="4"/>
                  <a:pt x="225" y="5"/>
                  <a:pt x="226" y="5"/>
                </a:cubicBezTo>
                <a:cubicBezTo>
                  <a:pt x="227" y="5"/>
                  <a:pt x="227" y="3"/>
                  <a:pt x="227" y="2"/>
                </a:cubicBezTo>
                <a:cubicBezTo>
                  <a:pt x="229" y="1"/>
                  <a:pt x="231" y="0"/>
                  <a:pt x="235" y="1"/>
                </a:cubicBezTo>
                <a:cubicBezTo>
                  <a:pt x="234" y="1"/>
                  <a:pt x="234" y="2"/>
                  <a:pt x="234" y="3"/>
                </a:cubicBezTo>
                <a:cubicBezTo>
                  <a:pt x="235" y="4"/>
                  <a:pt x="237" y="4"/>
                  <a:pt x="238" y="3"/>
                </a:cubicBezTo>
                <a:cubicBezTo>
                  <a:pt x="238" y="3"/>
                  <a:pt x="238" y="3"/>
                  <a:pt x="238" y="3"/>
                </a:cubicBezTo>
                <a:close/>
                <a:moveTo>
                  <a:pt x="350" y="60"/>
                </a:moveTo>
                <a:cubicBezTo>
                  <a:pt x="350" y="59"/>
                  <a:pt x="349" y="60"/>
                  <a:pt x="349" y="59"/>
                </a:cubicBezTo>
                <a:cubicBezTo>
                  <a:pt x="347" y="59"/>
                  <a:pt x="347" y="60"/>
                  <a:pt x="349" y="59"/>
                </a:cubicBezTo>
                <a:cubicBezTo>
                  <a:pt x="349" y="60"/>
                  <a:pt x="349" y="60"/>
                  <a:pt x="350" y="60"/>
                </a:cubicBezTo>
                <a:close/>
                <a:moveTo>
                  <a:pt x="101" y="95"/>
                </a:moveTo>
                <a:cubicBezTo>
                  <a:pt x="101" y="96"/>
                  <a:pt x="103" y="96"/>
                  <a:pt x="102" y="97"/>
                </a:cubicBezTo>
                <a:cubicBezTo>
                  <a:pt x="103" y="97"/>
                  <a:pt x="103" y="97"/>
                  <a:pt x="103" y="97"/>
                </a:cubicBezTo>
                <a:cubicBezTo>
                  <a:pt x="104" y="98"/>
                  <a:pt x="103" y="98"/>
                  <a:pt x="103" y="98"/>
                </a:cubicBezTo>
                <a:cubicBezTo>
                  <a:pt x="102" y="98"/>
                  <a:pt x="100" y="99"/>
                  <a:pt x="100" y="99"/>
                </a:cubicBezTo>
                <a:cubicBezTo>
                  <a:pt x="99" y="98"/>
                  <a:pt x="98" y="97"/>
                  <a:pt x="97" y="97"/>
                </a:cubicBezTo>
                <a:cubicBezTo>
                  <a:pt x="97" y="96"/>
                  <a:pt x="99" y="97"/>
                  <a:pt x="99" y="96"/>
                </a:cubicBezTo>
                <a:cubicBezTo>
                  <a:pt x="98" y="95"/>
                  <a:pt x="97" y="95"/>
                  <a:pt x="96" y="95"/>
                </a:cubicBezTo>
                <a:cubicBezTo>
                  <a:pt x="96" y="95"/>
                  <a:pt x="95" y="94"/>
                  <a:pt x="94" y="94"/>
                </a:cubicBezTo>
                <a:cubicBezTo>
                  <a:pt x="93" y="94"/>
                  <a:pt x="93" y="95"/>
                  <a:pt x="93" y="95"/>
                </a:cubicBezTo>
                <a:cubicBezTo>
                  <a:pt x="93" y="95"/>
                  <a:pt x="92" y="95"/>
                  <a:pt x="92" y="95"/>
                </a:cubicBezTo>
                <a:cubicBezTo>
                  <a:pt x="91" y="96"/>
                  <a:pt x="91" y="97"/>
                  <a:pt x="90" y="97"/>
                </a:cubicBezTo>
                <a:cubicBezTo>
                  <a:pt x="91" y="98"/>
                  <a:pt x="89" y="99"/>
                  <a:pt x="89" y="99"/>
                </a:cubicBezTo>
                <a:cubicBezTo>
                  <a:pt x="89" y="100"/>
                  <a:pt x="89" y="101"/>
                  <a:pt x="89" y="102"/>
                </a:cubicBezTo>
                <a:cubicBezTo>
                  <a:pt x="88" y="102"/>
                  <a:pt x="88" y="102"/>
                  <a:pt x="88" y="102"/>
                </a:cubicBezTo>
                <a:cubicBezTo>
                  <a:pt x="87" y="104"/>
                  <a:pt x="89" y="104"/>
                  <a:pt x="88" y="105"/>
                </a:cubicBezTo>
                <a:cubicBezTo>
                  <a:pt x="89" y="105"/>
                  <a:pt x="88" y="106"/>
                  <a:pt x="89" y="106"/>
                </a:cubicBezTo>
                <a:cubicBezTo>
                  <a:pt x="89" y="106"/>
                  <a:pt x="89" y="106"/>
                  <a:pt x="89" y="106"/>
                </a:cubicBezTo>
                <a:cubicBezTo>
                  <a:pt x="91" y="106"/>
                  <a:pt x="91" y="107"/>
                  <a:pt x="91" y="107"/>
                </a:cubicBezTo>
                <a:cubicBezTo>
                  <a:pt x="91" y="107"/>
                  <a:pt x="92" y="107"/>
                  <a:pt x="92" y="107"/>
                </a:cubicBezTo>
                <a:cubicBezTo>
                  <a:pt x="94" y="106"/>
                  <a:pt x="93" y="106"/>
                  <a:pt x="94" y="106"/>
                </a:cubicBezTo>
                <a:cubicBezTo>
                  <a:pt x="95" y="106"/>
                  <a:pt x="95" y="106"/>
                  <a:pt x="96" y="106"/>
                </a:cubicBezTo>
                <a:cubicBezTo>
                  <a:pt x="96" y="106"/>
                  <a:pt x="96" y="105"/>
                  <a:pt x="96" y="105"/>
                </a:cubicBezTo>
                <a:cubicBezTo>
                  <a:pt x="98" y="105"/>
                  <a:pt x="100" y="105"/>
                  <a:pt x="101" y="105"/>
                </a:cubicBezTo>
                <a:cubicBezTo>
                  <a:pt x="101" y="105"/>
                  <a:pt x="102" y="106"/>
                  <a:pt x="103" y="106"/>
                </a:cubicBezTo>
                <a:cubicBezTo>
                  <a:pt x="103" y="106"/>
                  <a:pt x="103" y="106"/>
                  <a:pt x="103" y="106"/>
                </a:cubicBezTo>
                <a:cubicBezTo>
                  <a:pt x="103" y="106"/>
                  <a:pt x="104" y="106"/>
                  <a:pt x="104" y="106"/>
                </a:cubicBezTo>
                <a:cubicBezTo>
                  <a:pt x="105" y="106"/>
                  <a:pt x="105" y="107"/>
                  <a:pt x="106" y="107"/>
                </a:cubicBezTo>
                <a:cubicBezTo>
                  <a:pt x="108" y="107"/>
                  <a:pt x="111" y="106"/>
                  <a:pt x="113" y="107"/>
                </a:cubicBezTo>
                <a:cubicBezTo>
                  <a:pt x="113" y="106"/>
                  <a:pt x="113" y="105"/>
                  <a:pt x="113" y="104"/>
                </a:cubicBezTo>
                <a:cubicBezTo>
                  <a:pt x="112" y="102"/>
                  <a:pt x="110" y="100"/>
                  <a:pt x="107" y="100"/>
                </a:cubicBezTo>
                <a:cubicBezTo>
                  <a:pt x="107" y="99"/>
                  <a:pt x="107" y="99"/>
                  <a:pt x="106" y="98"/>
                </a:cubicBezTo>
                <a:cubicBezTo>
                  <a:pt x="106" y="98"/>
                  <a:pt x="106" y="97"/>
                  <a:pt x="106" y="97"/>
                </a:cubicBezTo>
                <a:cubicBezTo>
                  <a:pt x="106" y="95"/>
                  <a:pt x="107" y="95"/>
                  <a:pt x="107" y="94"/>
                </a:cubicBezTo>
                <a:cubicBezTo>
                  <a:pt x="104" y="93"/>
                  <a:pt x="103" y="95"/>
                  <a:pt x="101" y="95"/>
                </a:cubicBezTo>
                <a:close/>
                <a:moveTo>
                  <a:pt x="133" y="116"/>
                </a:moveTo>
                <a:cubicBezTo>
                  <a:pt x="133" y="116"/>
                  <a:pt x="132" y="117"/>
                  <a:pt x="133" y="117"/>
                </a:cubicBezTo>
                <a:cubicBezTo>
                  <a:pt x="134" y="116"/>
                  <a:pt x="135" y="116"/>
                  <a:pt x="136" y="116"/>
                </a:cubicBezTo>
                <a:cubicBezTo>
                  <a:pt x="136" y="116"/>
                  <a:pt x="136" y="115"/>
                  <a:pt x="136" y="115"/>
                </a:cubicBezTo>
                <a:cubicBezTo>
                  <a:pt x="136" y="115"/>
                  <a:pt x="137" y="116"/>
                  <a:pt x="137" y="115"/>
                </a:cubicBezTo>
                <a:cubicBezTo>
                  <a:pt x="137" y="114"/>
                  <a:pt x="137" y="113"/>
                  <a:pt x="137" y="112"/>
                </a:cubicBezTo>
                <a:cubicBezTo>
                  <a:pt x="137" y="112"/>
                  <a:pt x="136" y="111"/>
                  <a:pt x="136" y="111"/>
                </a:cubicBezTo>
                <a:cubicBezTo>
                  <a:pt x="136" y="111"/>
                  <a:pt x="136" y="110"/>
                  <a:pt x="136" y="110"/>
                </a:cubicBezTo>
                <a:cubicBezTo>
                  <a:pt x="136" y="109"/>
                  <a:pt x="134" y="109"/>
                  <a:pt x="135" y="108"/>
                </a:cubicBezTo>
                <a:cubicBezTo>
                  <a:pt x="136" y="108"/>
                  <a:pt x="137" y="108"/>
                  <a:pt x="138" y="108"/>
                </a:cubicBezTo>
                <a:cubicBezTo>
                  <a:pt x="138" y="107"/>
                  <a:pt x="137" y="107"/>
                  <a:pt x="137" y="106"/>
                </a:cubicBezTo>
                <a:cubicBezTo>
                  <a:pt x="137" y="105"/>
                  <a:pt x="136" y="105"/>
                  <a:pt x="136" y="105"/>
                </a:cubicBezTo>
                <a:cubicBezTo>
                  <a:pt x="136" y="105"/>
                  <a:pt x="136" y="104"/>
                  <a:pt x="136" y="104"/>
                </a:cubicBezTo>
                <a:cubicBezTo>
                  <a:pt x="135" y="104"/>
                  <a:pt x="134" y="103"/>
                  <a:pt x="133" y="103"/>
                </a:cubicBezTo>
                <a:cubicBezTo>
                  <a:pt x="134" y="101"/>
                  <a:pt x="130" y="102"/>
                  <a:pt x="131" y="99"/>
                </a:cubicBezTo>
                <a:cubicBezTo>
                  <a:pt x="132" y="98"/>
                  <a:pt x="133" y="97"/>
                  <a:pt x="135" y="97"/>
                </a:cubicBezTo>
                <a:cubicBezTo>
                  <a:pt x="135" y="97"/>
                  <a:pt x="135" y="96"/>
                  <a:pt x="136" y="96"/>
                </a:cubicBezTo>
                <a:cubicBezTo>
                  <a:pt x="136" y="95"/>
                  <a:pt x="134" y="95"/>
                  <a:pt x="134" y="94"/>
                </a:cubicBezTo>
                <a:cubicBezTo>
                  <a:pt x="132" y="94"/>
                  <a:pt x="131" y="95"/>
                  <a:pt x="130" y="94"/>
                </a:cubicBezTo>
                <a:cubicBezTo>
                  <a:pt x="129" y="95"/>
                  <a:pt x="130" y="95"/>
                  <a:pt x="129" y="94"/>
                </a:cubicBezTo>
                <a:cubicBezTo>
                  <a:pt x="129" y="94"/>
                  <a:pt x="129" y="95"/>
                  <a:pt x="129" y="95"/>
                </a:cubicBezTo>
                <a:cubicBezTo>
                  <a:pt x="128" y="95"/>
                  <a:pt x="126" y="96"/>
                  <a:pt x="125" y="96"/>
                </a:cubicBezTo>
                <a:cubicBezTo>
                  <a:pt x="124" y="97"/>
                  <a:pt x="125" y="97"/>
                  <a:pt x="124" y="98"/>
                </a:cubicBezTo>
                <a:cubicBezTo>
                  <a:pt x="124" y="98"/>
                  <a:pt x="123" y="98"/>
                  <a:pt x="123" y="98"/>
                </a:cubicBezTo>
                <a:cubicBezTo>
                  <a:pt x="123" y="98"/>
                  <a:pt x="123" y="99"/>
                  <a:pt x="123" y="99"/>
                </a:cubicBezTo>
                <a:cubicBezTo>
                  <a:pt x="123" y="100"/>
                  <a:pt x="124" y="98"/>
                  <a:pt x="124" y="100"/>
                </a:cubicBezTo>
                <a:cubicBezTo>
                  <a:pt x="124" y="101"/>
                  <a:pt x="125" y="101"/>
                  <a:pt x="125" y="101"/>
                </a:cubicBezTo>
                <a:cubicBezTo>
                  <a:pt x="125" y="102"/>
                  <a:pt x="125" y="103"/>
                  <a:pt x="125" y="104"/>
                </a:cubicBezTo>
                <a:cubicBezTo>
                  <a:pt x="126" y="104"/>
                  <a:pt x="126" y="104"/>
                  <a:pt x="126" y="105"/>
                </a:cubicBezTo>
                <a:cubicBezTo>
                  <a:pt x="126" y="105"/>
                  <a:pt x="126" y="106"/>
                  <a:pt x="126" y="106"/>
                </a:cubicBezTo>
                <a:cubicBezTo>
                  <a:pt x="127" y="107"/>
                  <a:pt x="127" y="107"/>
                  <a:pt x="127" y="108"/>
                </a:cubicBezTo>
                <a:cubicBezTo>
                  <a:pt x="127" y="108"/>
                  <a:pt x="127" y="109"/>
                  <a:pt x="127" y="109"/>
                </a:cubicBezTo>
                <a:cubicBezTo>
                  <a:pt x="127" y="110"/>
                  <a:pt x="129" y="110"/>
                  <a:pt x="128" y="111"/>
                </a:cubicBezTo>
                <a:cubicBezTo>
                  <a:pt x="127" y="110"/>
                  <a:pt x="128" y="113"/>
                  <a:pt x="127" y="113"/>
                </a:cubicBezTo>
                <a:cubicBezTo>
                  <a:pt x="129" y="113"/>
                  <a:pt x="129" y="116"/>
                  <a:pt x="131" y="115"/>
                </a:cubicBezTo>
                <a:cubicBezTo>
                  <a:pt x="129" y="117"/>
                  <a:pt x="133" y="115"/>
                  <a:pt x="133" y="116"/>
                </a:cubicBezTo>
                <a:close/>
                <a:moveTo>
                  <a:pt x="147" y="95"/>
                </a:moveTo>
                <a:cubicBezTo>
                  <a:pt x="147" y="95"/>
                  <a:pt x="147" y="96"/>
                  <a:pt x="147" y="96"/>
                </a:cubicBezTo>
                <a:cubicBezTo>
                  <a:pt x="147" y="97"/>
                  <a:pt x="146" y="97"/>
                  <a:pt x="145" y="97"/>
                </a:cubicBezTo>
                <a:cubicBezTo>
                  <a:pt x="146" y="98"/>
                  <a:pt x="147" y="99"/>
                  <a:pt x="147" y="99"/>
                </a:cubicBezTo>
                <a:cubicBezTo>
                  <a:pt x="147" y="99"/>
                  <a:pt x="146" y="99"/>
                  <a:pt x="146" y="100"/>
                </a:cubicBezTo>
                <a:cubicBezTo>
                  <a:pt x="147" y="100"/>
                  <a:pt x="148" y="100"/>
                  <a:pt x="148" y="101"/>
                </a:cubicBezTo>
                <a:cubicBezTo>
                  <a:pt x="148" y="100"/>
                  <a:pt x="149" y="100"/>
                  <a:pt x="149" y="100"/>
                </a:cubicBezTo>
                <a:cubicBezTo>
                  <a:pt x="150" y="98"/>
                  <a:pt x="148" y="98"/>
                  <a:pt x="148" y="97"/>
                </a:cubicBezTo>
                <a:cubicBezTo>
                  <a:pt x="149" y="97"/>
                  <a:pt x="150" y="97"/>
                  <a:pt x="150" y="95"/>
                </a:cubicBezTo>
                <a:cubicBezTo>
                  <a:pt x="149" y="95"/>
                  <a:pt x="149" y="95"/>
                  <a:pt x="149" y="94"/>
                </a:cubicBezTo>
                <a:cubicBezTo>
                  <a:pt x="149" y="95"/>
                  <a:pt x="148" y="95"/>
                  <a:pt x="147" y="95"/>
                </a:cubicBezTo>
                <a:close/>
                <a:moveTo>
                  <a:pt x="86" y="108"/>
                </a:moveTo>
                <a:cubicBezTo>
                  <a:pt x="86" y="109"/>
                  <a:pt x="89" y="108"/>
                  <a:pt x="89" y="108"/>
                </a:cubicBezTo>
                <a:cubicBezTo>
                  <a:pt x="88" y="107"/>
                  <a:pt x="88" y="107"/>
                  <a:pt x="86" y="108"/>
                </a:cubicBezTo>
                <a:close/>
                <a:moveTo>
                  <a:pt x="97" y="194"/>
                </a:moveTo>
                <a:cubicBezTo>
                  <a:pt x="98" y="193"/>
                  <a:pt x="100" y="193"/>
                  <a:pt x="100" y="190"/>
                </a:cubicBezTo>
                <a:cubicBezTo>
                  <a:pt x="98" y="191"/>
                  <a:pt x="96" y="189"/>
                  <a:pt x="95" y="190"/>
                </a:cubicBezTo>
                <a:cubicBezTo>
                  <a:pt x="97" y="190"/>
                  <a:pt x="94" y="191"/>
                  <a:pt x="94" y="191"/>
                </a:cubicBezTo>
                <a:cubicBezTo>
                  <a:pt x="94" y="191"/>
                  <a:pt x="95" y="192"/>
                  <a:pt x="95" y="192"/>
                </a:cubicBezTo>
                <a:cubicBezTo>
                  <a:pt x="95" y="193"/>
                  <a:pt x="95" y="194"/>
                  <a:pt x="94" y="194"/>
                </a:cubicBezTo>
                <a:cubicBezTo>
                  <a:pt x="94" y="194"/>
                  <a:pt x="94" y="193"/>
                  <a:pt x="94" y="194"/>
                </a:cubicBezTo>
                <a:cubicBezTo>
                  <a:pt x="94" y="195"/>
                  <a:pt x="96" y="194"/>
                  <a:pt x="97" y="194"/>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31" name="Freeform 87"/>
          <p:cNvSpPr/>
          <p:nvPr/>
        </p:nvSpPr>
        <p:spPr bwMode="auto">
          <a:xfrm>
            <a:off x="2353932" y="1774825"/>
            <a:ext cx="49213" cy="30162"/>
          </a:xfrm>
          <a:custGeom>
            <a:avLst/>
            <a:gdLst>
              <a:gd name="T0" fmla="*/ 4 w 5"/>
              <a:gd name="T1" fmla="*/ 0 h 3"/>
              <a:gd name="T2" fmla="*/ 5 w 5"/>
              <a:gd name="T3" fmla="*/ 2 h 3"/>
              <a:gd name="T4" fmla="*/ 0 w 5"/>
              <a:gd name="T5" fmla="*/ 1 h 3"/>
              <a:gd name="T6" fmla="*/ 4 w 5"/>
              <a:gd name="T7" fmla="*/ 0 h 3"/>
            </a:gdLst>
            <a:ahLst/>
            <a:cxnLst>
              <a:cxn ang="0">
                <a:pos x="T0" y="T1"/>
              </a:cxn>
              <a:cxn ang="0">
                <a:pos x="T2" y="T3"/>
              </a:cxn>
              <a:cxn ang="0">
                <a:pos x="T4" y="T5"/>
              </a:cxn>
              <a:cxn ang="0">
                <a:pos x="T6" y="T7"/>
              </a:cxn>
            </a:cxnLst>
            <a:rect l="0" t="0" r="r" b="b"/>
            <a:pathLst>
              <a:path w="5" h="3">
                <a:moveTo>
                  <a:pt x="4" y="0"/>
                </a:moveTo>
                <a:cubicBezTo>
                  <a:pt x="4" y="1"/>
                  <a:pt x="5" y="1"/>
                  <a:pt x="5" y="2"/>
                </a:cubicBezTo>
                <a:cubicBezTo>
                  <a:pt x="2" y="3"/>
                  <a:pt x="1" y="2"/>
                  <a:pt x="0" y="1"/>
                </a:cubicBezTo>
                <a:cubicBezTo>
                  <a:pt x="0" y="0"/>
                  <a:pt x="2" y="0"/>
                  <a:pt x="4"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32" name="Freeform 88"/>
          <p:cNvSpPr>
            <a:spLocks noEditPoints="1"/>
          </p:cNvSpPr>
          <p:nvPr/>
        </p:nvSpPr>
        <p:spPr bwMode="auto">
          <a:xfrm>
            <a:off x="2463469" y="1824038"/>
            <a:ext cx="552450" cy="396875"/>
          </a:xfrm>
          <a:custGeom>
            <a:avLst/>
            <a:gdLst>
              <a:gd name="T0" fmla="*/ 6 w 56"/>
              <a:gd name="T1" fmla="*/ 3 h 40"/>
              <a:gd name="T2" fmla="*/ 8 w 56"/>
              <a:gd name="T3" fmla="*/ 2 h 40"/>
              <a:gd name="T4" fmla="*/ 8 w 56"/>
              <a:gd name="T5" fmla="*/ 3 h 40"/>
              <a:gd name="T6" fmla="*/ 8 w 56"/>
              <a:gd name="T7" fmla="*/ 5 h 40"/>
              <a:gd name="T8" fmla="*/ 9 w 56"/>
              <a:gd name="T9" fmla="*/ 9 h 40"/>
              <a:gd name="T10" fmla="*/ 12 w 56"/>
              <a:gd name="T11" fmla="*/ 3 h 40"/>
              <a:gd name="T12" fmla="*/ 17 w 56"/>
              <a:gd name="T13" fmla="*/ 2 h 40"/>
              <a:gd name="T14" fmla="*/ 19 w 56"/>
              <a:gd name="T15" fmla="*/ 7 h 40"/>
              <a:gd name="T16" fmla="*/ 23 w 56"/>
              <a:gd name="T17" fmla="*/ 6 h 40"/>
              <a:gd name="T18" fmla="*/ 27 w 56"/>
              <a:gd name="T19" fmla="*/ 5 h 40"/>
              <a:gd name="T20" fmla="*/ 29 w 56"/>
              <a:gd name="T21" fmla="*/ 7 h 40"/>
              <a:gd name="T22" fmla="*/ 31 w 56"/>
              <a:gd name="T23" fmla="*/ 8 h 40"/>
              <a:gd name="T24" fmla="*/ 32 w 56"/>
              <a:gd name="T25" fmla="*/ 9 h 40"/>
              <a:gd name="T26" fmla="*/ 36 w 56"/>
              <a:gd name="T27" fmla="*/ 10 h 40"/>
              <a:gd name="T28" fmla="*/ 40 w 56"/>
              <a:gd name="T29" fmla="*/ 11 h 40"/>
              <a:gd name="T30" fmla="*/ 41 w 56"/>
              <a:gd name="T31" fmla="*/ 13 h 40"/>
              <a:gd name="T32" fmla="*/ 44 w 56"/>
              <a:gd name="T33" fmla="*/ 15 h 40"/>
              <a:gd name="T34" fmla="*/ 42 w 56"/>
              <a:gd name="T35" fmla="*/ 19 h 40"/>
              <a:gd name="T36" fmla="*/ 46 w 56"/>
              <a:gd name="T37" fmla="*/ 19 h 40"/>
              <a:gd name="T38" fmla="*/ 47 w 56"/>
              <a:gd name="T39" fmla="*/ 22 h 40"/>
              <a:gd name="T40" fmla="*/ 51 w 56"/>
              <a:gd name="T41" fmla="*/ 22 h 40"/>
              <a:gd name="T42" fmla="*/ 53 w 56"/>
              <a:gd name="T43" fmla="*/ 24 h 40"/>
              <a:gd name="T44" fmla="*/ 54 w 56"/>
              <a:gd name="T45" fmla="*/ 26 h 40"/>
              <a:gd name="T46" fmla="*/ 52 w 56"/>
              <a:gd name="T47" fmla="*/ 30 h 40"/>
              <a:gd name="T48" fmla="*/ 49 w 56"/>
              <a:gd name="T49" fmla="*/ 29 h 40"/>
              <a:gd name="T50" fmla="*/ 46 w 56"/>
              <a:gd name="T51" fmla="*/ 26 h 40"/>
              <a:gd name="T52" fmla="*/ 44 w 56"/>
              <a:gd name="T53" fmla="*/ 29 h 40"/>
              <a:gd name="T54" fmla="*/ 47 w 56"/>
              <a:gd name="T55" fmla="*/ 31 h 40"/>
              <a:gd name="T56" fmla="*/ 49 w 56"/>
              <a:gd name="T57" fmla="*/ 34 h 40"/>
              <a:gd name="T58" fmla="*/ 47 w 56"/>
              <a:gd name="T59" fmla="*/ 37 h 40"/>
              <a:gd name="T60" fmla="*/ 41 w 56"/>
              <a:gd name="T61" fmla="*/ 35 h 40"/>
              <a:gd name="T62" fmla="*/ 43 w 56"/>
              <a:gd name="T63" fmla="*/ 37 h 40"/>
              <a:gd name="T64" fmla="*/ 45 w 56"/>
              <a:gd name="T65" fmla="*/ 38 h 40"/>
              <a:gd name="T66" fmla="*/ 43 w 56"/>
              <a:gd name="T67" fmla="*/ 38 h 40"/>
              <a:gd name="T68" fmla="*/ 38 w 56"/>
              <a:gd name="T69" fmla="*/ 37 h 40"/>
              <a:gd name="T70" fmla="*/ 35 w 56"/>
              <a:gd name="T71" fmla="*/ 35 h 40"/>
              <a:gd name="T72" fmla="*/ 34 w 56"/>
              <a:gd name="T73" fmla="*/ 33 h 40"/>
              <a:gd name="T74" fmla="*/ 31 w 56"/>
              <a:gd name="T75" fmla="*/ 28 h 40"/>
              <a:gd name="T76" fmla="*/ 31 w 56"/>
              <a:gd name="T77" fmla="*/ 26 h 40"/>
              <a:gd name="T78" fmla="*/ 32 w 56"/>
              <a:gd name="T79" fmla="*/ 24 h 40"/>
              <a:gd name="T80" fmla="*/ 34 w 56"/>
              <a:gd name="T81" fmla="*/ 22 h 40"/>
              <a:gd name="T82" fmla="*/ 32 w 56"/>
              <a:gd name="T83" fmla="*/ 19 h 40"/>
              <a:gd name="T84" fmla="*/ 31 w 56"/>
              <a:gd name="T85" fmla="*/ 18 h 40"/>
              <a:gd name="T86" fmla="*/ 29 w 56"/>
              <a:gd name="T87" fmla="*/ 18 h 40"/>
              <a:gd name="T88" fmla="*/ 27 w 56"/>
              <a:gd name="T89" fmla="*/ 17 h 40"/>
              <a:gd name="T90" fmla="*/ 24 w 56"/>
              <a:gd name="T91" fmla="*/ 13 h 40"/>
              <a:gd name="T92" fmla="*/ 20 w 56"/>
              <a:gd name="T93" fmla="*/ 14 h 40"/>
              <a:gd name="T94" fmla="*/ 17 w 56"/>
              <a:gd name="T95" fmla="*/ 14 h 40"/>
              <a:gd name="T96" fmla="*/ 13 w 56"/>
              <a:gd name="T97" fmla="*/ 14 h 40"/>
              <a:gd name="T98" fmla="*/ 6 w 56"/>
              <a:gd name="T99" fmla="*/ 13 h 40"/>
              <a:gd name="T100" fmla="*/ 3 w 56"/>
              <a:gd name="T101" fmla="*/ 11 h 40"/>
              <a:gd name="T102" fmla="*/ 2 w 56"/>
              <a:gd name="T103" fmla="*/ 9 h 40"/>
              <a:gd name="T104" fmla="*/ 2 w 56"/>
              <a:gd name="T105" fmla="*/ 7 h 40"/>
              <a:gd name="T106" fmla="*/ 37 w 56"/>
              <a:gd name="T107" fmla="*/ 27 h 40"/>
              <a:gd name="T108" fmla="*/ 39 w 56"/>
              <a:gd name="T109" fmla="*/ 25 h 40"/>
              <a:gd name="T110" fmla="*/ 37 w 56"/>
              <a:gd name="T111"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 h="40">
                <a:moveTo>
                  <a:pt x="3" y="3"/>
                </a:moveTo>
                <a:cubicBezTo>
                  <a:pt x="3" y="4"/>
                  <a:pt x="5" y="1"/>
                  <a:pt x="6" y="3"/>
                </a:cubicBezTo>
                <a:cubicBezTo>
                  <a:pt x="6" y="3"/>
                  <a:pt x="6" y="2"/>
                  <a:pt x="6" y="2"/>
                </a:cubicBezTo>
                <a:cubicBezTo>
                  <a:pt x="7" y="1"/>
                  <a:pt x="7" y="2"/>
                  <a:pt x="8" y="2"/>
                </a:cubicBezTo>
                <a:cubicBezTo>
                  <a:pt x="8" y="2"/>
                  <a:pt x="8" y="0"/>
                  <a:pt x="10" y="2"/>
                </a:cubicBezTo>
                <a:cubicBezTo>
                  <a:pt x="10" y="4"/>
                  <a:pt x="8" y="2"/>
                  <a:pt x="8" y="3"/>
                </a:cubicBezTo>
                <a:cubicBezTo>
                  <a:pt x="7" y="3"/>
                  <a:pt x="9" y="3"/>
                  <a:pt x="9" y="3"/>
                </a:cubicBezTo>
                <a:cubicBezTo>
                  <a:pt x="9" y="4"/>
                  <a:pt x="8" y="4"/>
                  <a:pt x="8" y="5"/>
                </a:cubicBezTo>
                <a:cubicBezTo>
                  <a:pt x="8" y="6"/>
                  <a:pt x="8" y="6"/>
                  <a:pt x="8" y="6"/>
                </a:cubicBezTo>
                <a:cubicBezTo>
                  <a:pt x="8" y="7"/>
                  <a:pt x="8" y="9"/>
                  <a:pt x="9" y="9"/>
                </a:cubicBezTo>
                <a:cubicBezTo>
                  <a:pt x="10" y="8"/>
                  <a:pt x="9" y="6"/>
                  <a:pt x="10" y="5"/>
                </a:cubicBezTo>
                <a:cubicBezTo>
                  <a:pt x="12" y="5"/>
                  <a:pt x="12" y="4"/>
                  <a:pt x="12" y="3"/>
                </a:cubicBezTo>
                <a:cubicBezTo>
                  <a:pt x="13" y="4"/>
                  <a:pt x="14" y="2"/>
                  <a:pt x="15" y="3"/>
                </a:cubicBezTo>
                <a:cubicBezTo>
                  <a:pt x="16" y="3"/>
                  <a:pt x="15" y="2"/>
                  <a:pt x="17" y="2"/>
                </a:cubicBezTo>
                <a:cubicBezTo>
                  <a:pt x="16" y="4"/>
                  <a:pt x="18" y="4"/>
                  <a:pt x="19" y="4"/>
                </a:cubicBezTo>
                <a:cubicBezTo>
                  <a:pt x="18" y="6"/>
                  <a:pt x="19" y="6"/>
                  <a:pt x="19" y="7"/>
                </a:cubicBezTo>
                <a:cubicBezTo>
                  <a:pt x="20" y="6"/>
                  <a:pt x="21" y="6"/>
                  <a:pt x="21" y="7"/>
                </a:cubicBezTo>
                <a:cubicBezTo>
                  <a:pt x="22" y="7"/>
                  <a:pt x="22" y="6"/>
                  <a:pt x="23" y="6"/>
                </a:cubicBezTo>
                <a:cubicBezTo>
                  <a:pt x="23" y="6"/>
                  <a:pt x="24" y="6"/>
                  <a:pt x="24" y="5"/>
                </a:cubicBezTo>
                <a:cubicBezTo>
                  <a:pt x="25" y="6"/>
                  <a:pt x="26" y="6"/>
                  <a:pt x="27" y="5"/>
                </a:cubicBezTo>
                <a:cubicBezTo>
                  <a:pt x="27" y="6"/>
                  <a:pt x="28" y="6"/>
                  <a:pt x="28" y="6"/>
                </a:cubicBezTo>
                <a:cubicBezTo>
                  <a:pt x="29" y="6"/>
                  <a:pt x="29" y="7"/>
                  <a:pt x="29" y="7"/>
                </a:cubicBezTo>
                <a:cubicBezTo>
                  <a:pt x="29" y="7"/>
                  <a:pt x="30" y="8"/>
                  <a:pt x="31" y="8"/>
                </a:cubicBezTo>
                <a:cubicBezTo>
                  <a:pt x="31" y="8"/>
                  <a:pt x="30" y="8"/>
                  <a:pt x="31" y="8"/>
                </a:cubicBezTo>
                <a:cubicBezTo>
                  <a:pt x="32" y="8"/>
                  <a:pt x="31" y="9"/>
                  <a:pt x="31" y="10"/>
                </a:cubicBezTo>
                <a:cubicBezTo>
                  <a:pt x="32" y="10"/>
                  <a:pt x="32" y="9"/>
                  <a:pt x="32" y="9"/>
                </a:cubicBezTo>
                <a:cubicBezTo>
                  <a:pt x="33" y="9"/>
                  <a:pt x="33" y="10"/>
                  <a:pt x="34" y="10"/>
                </a:cubicBezTo>
                <a:cubicBezTo>
                  <a:pt x="35" y="10"/>
                  <a:pt x="35" y="10"/>
                  <a:pt x="36" y="10"/>
                </a:cubicBezTo>
                <a:cubicBezTo>
                  <a:pt x="36" y="11"/>
                  <a:pt x="39" y="10"/>
                  <a:pt x="39" y="12"/>
                </a:cubicBezTo>
                <a:cubicBezTo>
                  <a:pt x="40" y="12"/>
                  <a:pt x="40" y="12"/>
                  <a:pt x="40" y="11"/>
                </a:cubicBezTo>
                <a:cubicBezTo>
                  <a:pt x="41" y="12"/>
                  <a:pt x="41" y="12"/>
                  <a:pt x="41" y="13"/>
                </a:cubicBezTo>
                <a:cubicBezTo>
                  <a:pt x="41" y="13"/>
                  <a:pt x="41" y="13"/>
                  <a:pt x="41" y="13"/>
                </a:cubicBezTo>
                <a:cubicBezTo>
                  <a:pt x="42" y="13"/>
                  <a:pt x="42" y="14"/>
                  <a:pt x="44" y="14"/>
                </a:cubicBezTo>
                <a:cubicBezTo>
                  <a:pt x="44" y="15"/>
                  <a:pt x="44" y="15"/>
                  <a:pt x="44" y="15"/>
                </a:cubicBezTo>
                <a:cubicBezTo>
                  <a:pt x="45" y="16"/>
                  <a:pt x="43" y="17"/>
                  <a:pt x="44" y="17"/>
                </a:cubicBezTo>
                <a:cubicBezTo>
                  <a:pt x="44" y="18"/>
                  <a:pt x="42" y="18"/>
                  <a:pt x="42" y="19"/>
                </a:cubicBezTo>
                <a:cubicBezTo>
                  <a:pt x="43" y="21"/>
                  <a:pt x="45" y="18"/>
                  <a:pt x="46" y="20"/>
                </a:cubicBezTo>
                <a:cubicBezTo>
                  <a:pt x="46" y="20"/>
                  <a:pt x="46" y="20"/>
                  <a:pt x="46" y="19"/>
                </a:cubicBezTo>
                <a:cubicBezTo>
                  <a:pt x="47" y="19"/>
                  <a:pt x="47" y="20"/>
                  <a:pt x="47" y="21"/>
                </a:cubicBezTo>
                <a:cubicBezTo>
                  <a:pt x="47" y="21"/>
                  <a:pt x="47" y="22"/>
                  <a:pt x="47" y="22"/>
                </a:cubicBezTo>
                <a:cubicBezTo>
                  <a:pt x="48" y="22"/>
                  <a:pt x="48" y="21"/>
                  <a:pt x="48" y="23"/>
                </a:cubicBezTo>
                <a:cubicBezTo>
                  <a:pt x="49" y="23"/>
                  <a:pt x="50" y="22"/>
                  <a:pt x="51" y="22"/>
                </a:cubicBezTo>
                <a:cubicBezTo>
                  <a:pt x="51" y="23"/>
                  <a:pt x="52" y="23"/>
                  <a:pt x="52" y="24"/>
                </a:cubicBezTo>
                <a:cubicBezTo>
                  <a:pt x="52" y="24"/>
                  <a:pt x="54" y="23"/>
                  <a:pt x="53" y="24"/>
                </a:cubicBezTo>
                <a:cubicBezTo>
                  <a:pt x="55" y="24"/>
                  <a:pt x="54" y="25"/>
                  <a:pt x="56" y="25"/>
                </a:cubicBezTo>
                <a:cubicBezTo>
                  <a:pt x="56" y="26"/>
                  <a:pt x="54" y="26"/>
                  <a:pt x="54" y="26"/>
                </a:cubicBezTo>
                <a:cubicBezTo>
                  <a:pt x="54" y="27"/>
                  <a:pt x="55" y="27"/>
                  <a:pt x="55" y="27"/>
                </a:cubicBezTo>
                <a:cubicBezTo>
                  <a:pt x="54" y="28"/>
                  <a:pt x="53" y="28"/>
                  <a:pt x="52" y="30"/>
                </a:cubicBezTo>
                <a:cubicBezTo>
                  <a:pt x="51" y="30"/>
                  <a:pt x="51" y="30"/>
                  <a:pt x="51" y="30"/>
                </a:cubicBezTo>
                <a:cubicBezTo>
                  <a:pt x="51" y="30"/>
                  <a:pt x="49" y="30"/>
                  <a:pt x="49" y="29"/>
                </a:cubicBezTo>
                <a:cubicBezTo>
                  <a:pt x="49" y="28"/>
                  <a:pt x="46" y="29"/>
                  <a:pt x="47" y="27"/>
                </a:cubicBezTo>
                <a:cubicBezTo>
                  <a:pt x="46" y="27"/>
                  <a:pt x="46" y="27"/>
                  <a:pt x="46" y="26"/>
                </a:cubicBezTo>
                <a:cubicBezTo>
                  <a:pt x="45" y="26"/>
                  <a:pt x="45" y="26"/>
                  <a:pt x="44" y="26"/>
                </a:cubicBezTo>
                <a:cubicBezTo>
                  <a:pt x="43" y="26"/>
                  <a:pt x="44" y="28"/>
                  <a:pt x="44" y="29"/>
                </a:cubicBezTo>
                <a:cubicBezTo>
                  <a:pt x="44" y="30"/>
                  <a:pt x="45" y="30"/>
                  <a:pt x="45" y="31"/>
                </a:cubicBezTo>
                <a:cubicBezTo>
                  <a:pt x="46" y="30"/>
                  <a:pt x="47" y="32"/>
                  <a:pt x="47" y="31"/>
                </a:cubicBezTo>
                <a:cubicBezTo>
                  <a:pt x="48" y="31"/>
                  <a:pt x="48" y="32"/>
                  <a:pt x="48" y="33"/>
                </a:cubicBezTo>
                <a:cubicBezTo>
                  <a:pt x="48" y="34"/>
                  <a:pt x="49" y="34"/>
                  <a:pt x="49" y="34"/>
                </a:cubicBezTo>
                <a:cubicBezTo>
                  <a:pt x="49" y="35"/>
                  <a:pt x="48" y="37"/>
                  <a:pt x="48" y="38"/>
                </a:cubicBezTo>
                <a:cubicBezTo>
                  <a:pt x="47" y="38"/>
                  <a:pt x="48" y="37"/>
                  <a:pt x="47" y="37"/>
                </a:cubicBezTo>
                <a:cubicBezTo>
                  <a:pt x="47" y="37"/>
                  <a:pt x="45" y="37"/>
                  <a:pt x="45" y="36"/>
                </a:cubicBezTo>
                <a:cubicBezTo>
                  <a:pt x="43" y="36"/>
                  <a:pt x="43" y="34"/>
                  <a:pt x="41" y="35"/>
                </a:cubicBezTo>
                <a:cubicBezTo>
                  <a:pt x="41" y="36"/>
                  <a:pt x="43" y="35"/>
                  <a:pt x="43" y="36"/>
                </a:cubicBezTo>
                <a:cubicBezTo>
                  <a:pt x="42" y="37"/>
                  <a:pt x="45" y="36"/>
                  <a:pt x="43" y="37"/>
                </a:cubicBezTo>
                <a:cubicBezTo>
                  <a:pt x="43" y="38"/>
                  <a:pt x="44" y="38"/>
                  <a:pt x="45" y="38"/>
                </a:cubicBezTo>
                <a:cubicBezTo>
                  <a:pt x="45" y="38"/>
                  <a:pt x="45" y="38"/>
                  <a:pt x="45" y="38"/>
                </a:cubicBezTo>
                <a:cubicBezTo>
                  <a:pt x="46" y="39"/>
                  <a:pt x="46" y="39"/>
                  <a:pt x="46" y="39"/>
                </a:cubicBezTo>
                <a:cubicBezTo>
                  <a:pt x="45" y="40"/>
                  <a:pt x="44" y="39"/>
                  <a:pt x="43" y="38"/>
                </a:cubicBezTo>
                <a:cubicBezTo>
                  <a:pt x="43" y="38"/>
                  <a:pt x="41" y="38"/>
                  <a:pt x="40" y="38"/>
                </a:cubicBezTo>
                <a:cubicBezTo>
                  <a:pt x="40" y="37"/>
                  <a:pt x="39" y="37"/>
                  <a:pt x="38" y="37"/>
                </a:cubicBezTo>
                <a:cubicBezTo>
                  <a:pt x="37" y="37"/>
                  <a:pt x="37" y="36"/>
                  <a:pt x="37" y="36"/>
                </a:cubicBezTo>
                <a:cubicBezTo>
                  <a:pt x="37" y="35"/>
                  <a:pt x="36" y="36"/>
                  <a:pt x="35" y="35"/>
                </a:cubicBezTo>
                <a:cubicBezTo>
                  <a:pt x="35" y="35"/>
                  <a:pt x="35" y="34"/>
                  <a:pt x="35" y="34"/>
                </a:cubicBezTo>
                <a:cubicBezTo>
                  <a:pt x="35" y="34"/>
                  <a:pt x="33" y="34"/>
                  <a:pt x="34" y="33"/>
                </a:cubicBezTo>
                <a:cubicBezTo>
                  <a:pt x="32" y="33"/>
                  <a:pt x="32" y="31"/>
                  <a:pt x="31" y="30"/>
                </a:cubicBezTo>
                <a:cubicBezTo>
                  <a:pt x="31" y="30"/>
                  <a:pt x="30" y="28"/>
                  <a:pt x="31" y="28"/>
                </a:cubicBezTo>
                <a:cubicBezTo>
                  <a:pt x="31" y="28"/>
                  <a:pt x="32" y="28"/>
                  <a:pt x="32" y="28"/>
                </a:cubicBezTo>
                <a:cubicBezTo>
                  <a:pt x="32" y="28"/>
                  <a:pt x="31" y="27"/>
                  <a:pt x="31" y="26"/>
                </a:cubicBezTo>
                <a:cubicBezTo>
                  <a:pt x="32" y="26"/>
                  <a:pt x="32" y="26"/>
                  <a:pt x="32" y="26"/>
                </a:cubicBezTo>
                <a:cubicBezTo>
                  <a:pt x="33" y="26"/>
                  <a:pt x="32" y="25"/>
                  <a:pt x="32" y="24"/>
                </a:cubicBezTo>
                <a:cubicBezTo>
                  <a:pt x="33" y="24"/>
                  <a:pt x="33" y="25"/>
                  <a:pt x="33" y="24"/>
                </a:cubicBezTo>
                <a:cubicBezTo>
                  <a:pt x="34" y="24"/>
                  <a:pt x="33" y="23"/>
                  <a:pt x="34" y="22"/>
                </a:cubicBezTo>
                <a:cubicBezTo>
                  <a:pt x="34" y="22"/>
                  <a:pt x="33" y="22"/>
                  <a:pt x="32" y="22"/>
                </a:cubicBezTo>
                <a:cubicBezTo>
                  <a:pt x="32" y="21"/>
                  <a:pt x="32" y="20"/>
                  <a:pt x="32" y="19"/>
                </a:cubicBezTo>
                <a:cubicBezTo>
                  <a:pt x="32" y="19"/>
                  <a:pt x="32" y="19"/>
                  <a:pt x="31" y="20"/>
                </a:cubicBezTo>
                <a:cubicBezTo>
                  <a:pt x="31" y="19"/>
                  <a:pt x="31" y="18"/>
                  <a:pt x="31" y="18"/>
                </a:cubicBezTo>
                <a:cubicBezTo>
                  <a:pt x="30" y="18"/>
                  <a:pt x="30" y="18"/>
                  <a:pt x="30" y="18"/>
                </a:cubicBezTo>
                <a:cubicBezTo>
                  <a:pt x="30" y="18"/>
                  <a:pt x="29" y="18"/>
                  <a:pt x="29" y="18"/>
                </a:cubicBezTo>
                <a:cubicBezTo>
                  <a:pt x="29" y="18"/>
                  <a:pt x="28" y="17"/>
                  <a:pt x="28" y="17"/>
                </a:cubicBezTo>
                <a:cubicBezTo>
                  <a:pt x="28" y="17"/>
                  <a:pt x="28" y="18"/>
                  <a:pt x="27" y="17"/>
                </a:cubicBezTo>
                <a:cubicBezTo>
                  <a:pt x="27" y="17"/>
                  <a:pt x="26" y="16"/>
                  <a:pt x="25" y="17"/>
                </a:cubicBezTo>
                <a:cubicBezTo>
                  <a:pt x="27" y="14"/>
                  <a:pt x="23" y="16"/>
                  <a:pt x="24" y="13"/>
                </a:cubicBezTo>
                <a:cubicBezTo>
                  <a:pt x="22" y="13"/>
                  <a:pt x="21" y="13"/>
                  <a:pt x="21" y="15"/>
                </a:cubicBezTo>
                <a:cubicBezTo>
                  <a:pt x="21" y="15"/>
                  <a:pt x="20" y="14"/>
                  <a:pt x="20" y="14"/>
                </a:cubicBezTo>
                <a:cubicBezTo>
                  <a:pt x="19" y="14"/>
                  <a:pt x="19" y="15"/>
                  <a:pt x="18" y="15"/>
                </a:cubicBezTo>
                <a:cubicBezTo>
                  <a:pt x="18" y="15"/>
                  <a:pt x="17" y="14"/>
                  <a:pt x="17" y="14"/>
                </a:cubicBezTo>
                <a:cubicBezTo>
                  <a:pt x="16" y="14"/>
                  <a:pt x="16" y="15"/>
                  <a:pt x="15" y="15"/>
                </a:cubicBezTo>
                <a:cubicBezTo>
                  <a:pt x="14" y="15"/>
                  <a:pt x="13" y="14"/>
                  <a:pt x="13" y="14"/>
                </a:cubicBezTo>
                <a:cubicBezTo>
                  <a:pt x="11" y="14"/>
                  <a:pt x="9" y="14"/>
                  <a:pt x="7" y="14"/>
                </a:cubicBezTo>
                <a:cubicBezTo>
                  <a:pt x="7" y="14"/>
                  <a:pt x="6" y="13"/>
                  <a:pt x="6" y="13"/>
                </a:cubicBezTo>
                <a:cubicBezTo>
                  <a:pt x="5" y="13"/>
                  <a:pt x="4" y="13"/>
                  <a:pt x="4" y="12"/>
                </a:cubicBezTo>
                <a:cubicBezTo>
                  <a:pt x="4" y="12"/>
                  <a:pt x="2" y="12"/>
                  <a:pt x="3" y="11"/>
                </a:cubicBezTo>
                <a:cubicBezTo>
                  <a:pt x="4" y="11"/>
                  <a:pt x="5" y="10"/>
                  <a:pt x="5" y="10"/>
                </a:cubicBezTo>
                <a:cubicBezTo>
                  <a:pt x="5" y="9"/>
                  <a:pt x="2" y="10"/>
                  <a:pt x="2" y="9"/>
                </a:cubicBezTo>
                <a:cubicBezTo>
                  <a:pt x="1" y="9"/>
                  <a:pt x="1" y="9"/>
                  <a:pt x="1" y="9"/>
                </a:cubicBezTo>
                <a:cubicBezTo>
                  <a:pt x="0" y="9"/>
                  <a:pt x="2" y="7"/>
                  <a:pt x="2" y="7"/>
                </a:cubicBezTo>
                <a:cubicBezTo>
                  <a:pt x="2" y="5"/>
                  <a:pt x="3" y="5"/>
                  <a:pt x="3" y="3"/>
                </a:cubicBezTo>
                <a:close/>
                <a:moveTo>
                  <a:pt x="37" y="27"/>
                </a:moveTo>
                <a:cubicBezTo>
                  <a:pt x="37" y="26"/>
                  <a:pt x="39" y="27"/>
                  <a:pt x="40" y="27"/>
                </a:cubicBezTo>
                <a:cubicBezTo>
                  <a:pt x="40" y="26"/>
                  <a:pt x="39" y="26"/>
                  <a:pt x="39" y="25"/>
                </a:cubicBezTo>
                <a:cubicBezTo>
                  <a:pt x="38" y="25"/>
                  <a:pt x="37" y="25"/>
                  <a:pt x="36" y="24"/>
                </a:cubicBezTo>
                <a:cubicBezTo>
                  <a:pt x="36" y="25"/>
                  <a:pt x="36" y="27"/>
                  <a:pt x="37" y="27"/>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33" name="Freeform 89"/>
          <p:cNvSpPr/>
          <p:nvPr/>
        </p:nvSpPr>
        <p:spPr bwMode="auto">
          <a:xfrm>
            <a:off x="1918957" y="1844675"/>
            <a:ext cx="346075" cy="177800"/>
          </a:xfrm>
          <a:custGeom>
            <a:avLst/>
            <a:gdLst>
              <a:gd name="T0" fmla="*/ 4 w 35"/>
              <a:gd name="T1" fmla="*/ 14 h 18"/>
              <a:gd name="T2" fmla="*/ 5 w 35"/>
              <a:gd name="T3" fmla="*/ 12 h 18"/>
              <a:gd name="T4" fmla="*/ 7 w 35"/>
              <a:gd name="T5" fmla="*/ 12 h 18"/>
              <a:gd name="T6" fmla="*/ 8 w 35"/>
              <a:gd name="T7" fmla="*/ 11 h 18"/>
              <a:gd name="T8" fmla="*/ 13 w 35"/>
              <a:gd name="T9" fmla="*/ 11 h 18"/>
              <a:gd name="T10" fmla="*/ 8 w 35"/>
              <a:gd name="T11" fmla="*/ 10 h 18"/>
              <a:gd name="T12" fmla="*/ 7 w 35"/>
              <a:gd name="T13" fmla="*/ 10 h 18"/>
              <a:gd name="T14" fmla="*/ 6 w 35"/>
              <a:gd name="T15" fmla="*/ 10 h 18"/>
              <a:gd name="T16" fmla="*/ 3 w 35"/>
              <a:gd name="T17" fmla="*/ 10 h 18"/>
              <a:gd name="T18" fmla="*/ 5 w 35"/>
              <a:gd name="T19" fmla="*/ 8 h 18"/>
              <a:gd name="T20" fmla="*/ 7 w 35"/>
              <a:gd name="T21" fmla="*/ 8 h 18"/>
              <a:gd name="T22" fmla="*/ 2 w 35"/>
              <a:gd name="T23" fmla="*/ 7 h 18"/>
              <a:gd name="T24" fmla="*/ 1 w 35"/>
              <a:gd name="T25" fmla="*/ 6 h 18"/>
              <a:gd name="T26" fmla="*/ 3 w 35"/>
              <a:gd name="T27" fmla="*/ 4 h 18"/>
              <a:gd name="T28" fmla="*/ 3 w 35"/>
              <a:gd name="T29" fmla="*/ 3 h 18"/>
              <a:gd name="T30" fmla="*/ 8 w 35"/>
              <a:gd name="T31" fmla="*/ 1 h 18"/>
              <a:gd name="T32" fmla="*/ 9 w 35"/>
              <a:gd name="T33" fmla="*/ 1 h 18"/>
              <a:gd name="T34" fmla="*/ 10 w 35"/>
              <a:gd name="T35" fmla="*/ 1 h 18"/>
              <a:gd name="T36" fmla="*/ 11 w 35"/>
              <a:gd name="T37" fmla="*/ 3 h 18"/>
              <a:gd name="T38" fmla="*/ 10 w 35"/>
              <a:gd name="T39" fmla="*/ 3 h 18"/>
              <a:gd name="T40" fmla="*/ 11 w 35"/>
              <a:gd name="T41" fmla="*/ 4 h 18"/>
              <a:gd name="T42" fmla="*/ 11 w 35"/>
              <a:gd name="T43" fmla="*/ 3 h 18"/>
              <a:gd name="T44" fmla="*/ 14 w 35"/>
              <a:gd name="T45" fmla="*/ 2 h 18"/>
              <a:gd name="T46" fmla="*/ 16 w 35"/>
              <a:gd name="T47" fmla="*/ 5 h 18"/>
              <a:gd name="T48" fmla="*/ 17 w 35"/>
              <a:gd name="T49" fmla="*/ 4 h 18"/>
              <a:gd name="T50" fmla="*/ 19 w 35"/>
              <a:gd name="T51" fmla="*/ 2 h 18"/>
              <a:gd name="T52" fmla="*/ 20 w 35"/>
              <a:gd name="T53" fmla="*/ 3 h 18"/>
              <a:gd name="T54" fmla="*/ 21 w 35"/>
              <a:gd name="T55" fmla="*/ 5 h 18"/>
              <a:gd name="T56" fmla="*/ 22 w 35"/>
              <a:gd name="T57" fmla="*/ 7 h 18"/>
              <a:gd name="T58" fmla="*/ 23 w 35"/>
              <a:gd name="T59" fmla="*/ 5 h 18"/>
              <a:gd name="T60" fmla="*/ 22 w 35"/>
              <a:gd name="T61" fmla="*/ 4 h 18"/>
              <a:gd name="T62" fmla="*/ 22 w 35"/>
              <a:gd name="T63" fmla="*/ 1 h 18"/>
              <a:gd name="T64" fmla="*/ 24 w 35"/>
              <a:gd name="T65" fmla="*/ 1 h 18"/>
              <a:gd name="T66" fmla="*/ 26 w 35"/>
              <a:gd name="T67" fmla="*/ 4 h 18"/>
              <a:gd name="T68" fmla="*/ 27 w 35"/>
              <a:gd name="T69" fmla="*/ 5 h 18"/>
              <a:gd name="T70" fmla="*/ 28 w 35"/>
              <a:gd name="T71" fmla="*/ 7 h 18"/>
              <a:gd name="T72" fmla="*/ 28 w 35"/>
              <a:gd name="T73" fmla="*/ 8 h 18"/>
              <a:gd name="T74" fmla="*/ 29 w 35"/>
              <a:gd name="T75" fmla="*/ 10 h 18"/>
              <a:gd name="T76" fmla="*/ 33 w 35"/>
              <a:gd name="T77" fmla="*/ 10 h 18"/>
              <a:gd name="T78" fmla="*/ 35 w 35"/>
              <a:gd name="T79" fmla="*/ 12 h 18"/>
              <a:gd name="T80" fmla="*/ 35 w 35"/>
              <a:gd name="T81" fmla="*/ 13 h 18"/>
              <a:gd name="T82" fmla="*/ 31 w 35"/>
              <a:gd name="T83" fmla="*/ 13 h 18"/>
              <a:gd name="T84" fmla="*/ 32 w 35"/>
              <a:gd name="T85" fmla="*/ 16 h 18"/>
              <a:gd name="T86" fmla="*/ 27 w 35"/>
              <a:gd name="T87" fmla="*/ 16 h 18"/>
              <a:gd name="T88" fmla="*/ 21 w 35"/>
              <a:gd name="T89" fmla="*/ 16 h 18"/>
              <a:gd name="T90" fmla="*/ 18 w 35"/>
              <a:gd name="T91" fmla="*/ 16 h 18"/>
              <a:gd name="T92" fmla="*/ 18 w 35"/>
              <a:gd name="T93" fmla="*/ 17 h 18"/>
              <a:gd name="T94" fmla="*/ 12 w 35"/>
              <a:gd name="T95" fmla="*/ 17 h 18"/>
              <a:gd name="T96" fmla="*/ 10 w 35"/>
              <a:gd name="T97" fmla="*/ 15 h 18"/>
              <a:gd name="T98" fmla="*/ 6 w 35"/>
              <a:gd name="T99" fmla="*/ 14 h 18"/>
              <a:gd name="T100" fmla="*/ 6 w 35"/>
              <a:gd name="T101" fmla="*/ 14 h 18"/>
              <a:gd name="T102" fmla="*/ 6 w 35"/>
              <a:gd name="T103" fmla="*/ 13 h 18"/>
              <a:gd name="T104" fmla="*/ 4 w 35"/>
              <a:gd name="T105"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 h="18">
                <a:moveTo>
                  <a:pt x="4" y="14"/>
                </a:moveTo>
                <a:cubicBezTo>
                  <a:pt x="3" y="14"/>
                  <a:pt x="4" y="12"/>
                  <a:pt x="5" y="12"/>
                </a:cubicBezTo>
                <a:cubicBezTo>
                  <a:pt x="5" y="12"/>
                  <a:pt x="6" y="12"/>
                  <a:pt x="7" y="12"/>
                </a:cubicBezTo>
                <a:cubicBezTo>
                  <a:pt x="7" y="12"/>
                  <a:pt x="7" y="11"/>
                  <a:pt x="8" y="11"/>
                </a:cubicBezTo>
                <a:cubicBezTo>
                  <a:pt x="9" y="11"/>
                  <a:pt x="12" y="12"/>
                  <a:pt x="13" y="11"/>
                </a:cubicBezTo>
                <a:cubicBezTo>
                  <a:pt x="12" y="10"/>
                  <a:pt x="9" y="11"/>
                  <a:pt x="8" y="10"/>
                </a:cubicBezTo>
                <a:cubicBezTo>
                  <a:pt x="7" y="10"/>
                  <a:pt x="7" y="10"/>
                  <a:pt x="7" y="10"/>
                </a:cubicBezTo>
                <a:cubicBezTo>
                  <a:pt x="7" y="10"/>
                  <a:pt x="6" y="10"/>
                  <a:pt x="6" y="10"/>
                </a:cubicBezTo>
                <a:cubicBezTo>
                  <a:pt x="5" y="10"/>
                  <a:pt x="4" y="10"/>
                  <a:pt x="3" y="10"/>
                </a:cubicBezTo>
                <a:cubicBezTo>
                  <a:pt x="2" y="9"/>
                  <a:pt x="5" y="9"/>
                  <a:pt x="5" y="8"/>
                </a:cubicBezTo>
                <a:cubicBezTo>
                  <a:pt x="5" y="7"/>
                  <a:pt x="6" y="8"/>
                  <a:pt x="7" y="8"/>
                </a:cubicBezTo>
                <a:cubicBezTo>
                  <a:pt x="7" y="5"/>
                  <a:pt x="4" y="8"/>
                  <a:pt x="2" y="7"/>
                </a:cubicBezTo>
                <a:cubicBezTo>
                  <a:pt x="0" y="6"/>
                  <a:pt x="2" y="6"/>
                  <a:pt x="1" y="6"/>
                </a:cubicBezTo>
                <a:cubicBezTo>
                  <a:pt x="1" y="5"/>
                  <a:pt x="1" y="3"/>
                  <a:pt x="3" y="4"/>
                </a:cubicBezTo>
                <a:cubicBezTo>
                  <a:pt x="4" y="4"/>
                  <a:pt x="3" y="3"/>
                  <a:pt x="3" y="3"/>
                </a:cubicBezTo>
                <a:cubicBezTo>
                  <a:pt x="4" y="2"/>
                  <a:pt x="6" y="2"/>
                  <a:pt x="8" y="1"/>
                </a:cubicBezTo>
                <a:cubicBezTo>
                  <a:pt x="8" y="1"/>
                  <a:pt x="8" y="0"/>
                  <a:pt x="9" y="1"/>
                </a:cubicBezTo>
                <a:cubicBezTo>
                  <a:pt x="9" y="1"/>
                  <a:pt x="10" y="1"/>
                  <a:pt x="10" y="1"/>
                </a:cubicBezTo>
                <a:cubicBezTo>
                  <a:pt x="10" y="2"/>
                  <a:pt x="9" y="3"/>
                  <a:pt x="11" y="3"/>
                </a:cubicBezTo>
                <a:cubicBezTo>
                  <a:pt x="11" y="3"/>
                  <a:pt x="10" y="3"/>
                  <a:pt x="10" y="3"/>
                </a:cubicBezTo>
                <a:cubicBezTo>
                  <a:pt x="10" y="4"/>
                  <a:pt x="11" y="4"/>
                  <a:pt x="11" y="4"/>
                </a:cubicBezTo>
                <a:cubicBezTo>
                  <a:pt x="11" y="4"/>
                  <a:pt x="11" y="3"/>
                  <a:pt x="11" y="3"/>
                </a:cubicBezTo>
                <a:cubicBezTo>
                  <a:pt x="12" y="3"/>
                  <a:pt x="13" y="3"/>
                  <a:pt x="14" y="2"/>
                </a:cubicBezTo>
                <a:cubicBezTo>
                  <a:pt x="15" y="3"/>
                  <a:pt x="16" y="3"/>
                  <a:pt x="16" y="5"/>
                </a:cubicBezTo>
                <a:cubicBezTo>
                  <a:pt x="16" y="5"/>
                  <a:pt x="16" y="3"/>
                  <a:pt x="17" y="4"/>
                </a:cubicBezTo>
                <a:cubicBezTo>
                  <a:pt x="18" y="3"/>
                  <a:pt x="18" y="3"/>
                  <a:pt x="19" y="2"/>
                </a:cubicBezTo>
                <a:cubicBezTo>
                  <a:pt x="19" y="3"/>
                  <a:pt x="20" y="3"/>
                  <a:pt x="20" y="3"/>
                </a:cubicBezTo>
                <a:cubicBezTo>
                  <a:pt x="20" y="4"/>
                  <a:pt x="20" y="4"/>
                  <a:pt x="21" y="5"/>
                </a:cubicBezTo>
                <a:cubicBezTo>
                  <a:pt x="21" y="5"/>
                  <a:pt x="22" y="5"/>
                  <a:pt x="22" y="7"/>
                </a:cubicBezTo>
                <a:cubicBezTo>
                  <a:pt x="23" y="6"/>
                  <a:pt x="23" y="5"/>
                  <a:pt x="23" y="5"/>
                </a:cubicBezTo>
                <a:cubicBezTo>
                  <a:pt x="23" y="5"/>
                  <a:pt x="22" y="5"/>
                  <a:pt x="22" y="4"/>
                </a:cubicBezTo>
                <a:cubicBezTo>
                  <a:pt x="22" y="3"/>
                  <a:pt x="22" y="3"/>
                  <a:pt x="22" y="1"/>
                </a:cubicBezTo>
                <a:cubicBezTo>
                  <a:pt x="23" y="2"/>
                  <a:pt x="23" y="1"/>
                  <a:pt x="24" y="1"/>
                </a:cubicBezTo>
                <a:cubicBezTo>
                  <a:pt x="24" y="2"/>
                  <a:pt x="25" y="3"/>
                  <a:pt x="26" y="4"/>
                </a:cubicBezTo>
                <a:cubicBezTo>
                  <a:pt x="26" y="4"/>
                  <a:pt x="27" y="6"/>
                  <a:pt x="27" y="5"/>
                </a:cubicBezTo>
                <a:cubicBezTo>
                  <a:pt x="28" y="5"/>
                  <a:pt x="27" y="7"/>
                  <a:pt x="28" y="7"/>
                </a:cubicBezTo>
                <a:cubicBezTo>
                  <a:pt x="28" y="7"/>
                  <a:pt x="28" y="8"/>
                  <a:pt x="28" y="8"/>
                </a:cubicBezTo>
                <a:cubicBezTo>
                  <a:pt x="28" y="9"/>
                  <a:pt x="30" y="8"/>
                  <a:pt x="29" y="10"/>
                </a:cubicBezTo>
                <a:cubicBezTo>
                  <a:pt x="31" y="9"/>
                  <a:pt x="31" y="11"/>
                  <a:pt x="33" y="10"/>
                </a:cubicBezTo>
                <a:cubicBezTo>
                  <a:pt x="32" y="12"/>
                  <a:pt x="34" y="11"/>
                  <a:pt x="35" y="12"/>
                </a:cubicBezTo>
                <a:cubicBezTo>
                  <a:pt x="35" y="12"/>
                  <a:pt x="34" y="13"/>
                  <a:pt x="35" y="13"/>
                </a:cubicBezTo>
                <a:cubicBezTo>
                  <a:pt x="34" y="15"/>
                  <a:pt x="33" y="12"/>
                  <a:pt x="31" y="13"/>
                </a:cubicBezTo>
                <a:cubicBezTo>
                  <a:pt x="31" y="15"/>
                  <a:pt x="33" y="14"/>
                  <a:pt x="32" y="16"/>
                </a:cubicBezTo>
                <a:cubicBezTo>
                  <a:pt x="31" y="16"/>
                  <a:pt x="29" y="17"/>
                  <a:pt x="27" y="16"/>
                </a:cubicBezTo>
                <a:cubicBezTo>
                  <a:pt x="26" y="15"/>
                  <a:pt x="23" y="15"/>
                  <a:pt x="21" y="16"/>
                </a:cubicBezTo>
                <a:cubicBezTo>
                  <a:pt x="20" y="16"/>
                  <a:pt x="20" y="16"/>
                  <a:pt x="18" y="16"/>
                </a:cubicBezTo>
                <a:cubicBezTo>
                  <a:pt x="18" y="17"/>
                  <a:pt x="18" y="17"/>
                  <a:pt x="18" y="17"/>
                </a:cubicBezTo>
                <a:cubicBezTo>
                  <a:pt x="17" y="17"/>
                  <a:pt x="14" y="18"/>
                  <a:pt x="12" y="17"/>
                </a:cubicBezTo>
                <a:cubicBezTo>
                  <a:pt x="11" y="16"/>
                  <a:pt x="11" y="16"/>
                  <a:pt x="10" y="15"/>
                </a:cubicBezTo>
                <a:cubicBezTo>
                  <a:pt x="9" y="14"/>
                  <a:pt x="6" y="15"/>
                  <a:pt x="6" y="14"/>
                </a:cubicBezTo>
                <a:cubicBezTo>
                  <a:pt x="6" y="14"/>
                  <a:pt x="6" y="14"/>
                  <a:pt x="6" y="14"/>
                </a:cubicBezTo>
                <a:cubicBezTo>
                  <a:pt x="5" y="14"/>
                  <a:pt x="5" y="13"/>
                  <a:pt x="6" y="13"/>
                </a:cubicBezTo>
                <a:cubicBezTo>
                  <a:pt x="6" y="12"/>
                  <a:pt x="4" y="13"/>
                  <a:pt x="4" y="14"/>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34" name="Freeform 90"/>
          <p:cNvSpPr>
            <a:spLocks noEditPoints="1"/>
          </p:cNvSpPr>
          <p:nvPr/>
        </p:nvSpPr>
        <p:spPr bwMode="auto">
          <a:xfrm>
            <a:off x="1009319" y="1893888"/>
            <a:ext cx="2451100" cy="2851149"/>
          </a:xfrm>
          <a:custGeom>
            <a:avLst/>
            <a:gdLst>
              <a:gd name="T0" fmla="*/ 162 w 248"/>
              <a:gd name="T1" fmla="*/ 18 h 287"/>
              <a:gd name="T2" fmla="*/ 146 w 248"/>
              <a:gd name="T3" fmla="*/ 30 h 287"/>
              <a:gd name="T4" fmla="*/ 144 w 248"/>
              <a:gd name="T5" fmla="*/ 46 h 287"/>
              <a:gd name="T6" fmla="*/ 164 w 248"/>
              <a:gd name="T7" fmla="*/ 60 h 287"/>
              <a:gd name="T8" fmla="*/ 171 w 248"/>
              <a:gd name="T9" fmla="*/ 42 h 287"/>
              <a:gd name="T10" fmla="*/ 187 w 248"/>
              <a:gd name="T11" fmla="*/ 41 h 287"/>
              <a:gd name="T12" fmla="*/ 203 w 248"/>
              <a:gd name="T13" fmla="*/ 45 h 287"/>
              <a:gd name="T14" fmla="*/ 209 w 248"/>
              <a:gd name="T15" fmla="*/ 61 h 287"/>
              <a:gd name="T16" fmla="*/ 190 w 248"/>
              <a:gd name="T17" fmla="*/ 68 h 287"/>
              <a:gd name="T18" fmla="*/ 201 w 248"/>
              <a:gd name="T19" fmla="*/ 75 h 287"/>
              <a:gd name="T20" fmla="*/ 197 w 248"/>
              <a:gd name="T21" fmla="*/ 78 h 287"/>
              <a:gd name="T22" fmla="*/ 176 w 248"/>
              <a:gd name="T23" fmla="*/ 93 h 287"/>
              <a:gd name="T24" fmla="*/ 167 w 248"/>
              <a:gd name="T25" fmla="*/ 119 h 287"/>
              <a:gd name="T26" fmla="*/ 149 w 248"/>
              <a:gd name="T27" fmla="*/ 109 h 287"/>
              <a:gd name="T28" fmla="*/ 134 w 248"/>
              <a:gd name="T29" fmla="*/ 129 h 287"/>
              <a:gd name="T30" fmla="*/ 151 w 248"/>
              <a:gd name="T31" fmla="*/ 136 h 287"/>
              <a:gd name="T32" fmla="*/ 173 w 248"/>
              <a:gd name="T33" fmla="*/ 152 h 287"/>
              <a:gd name="T34" fmla="*/ 192 w 248"/>
              <a:gd name="T35" fmla="*/ 149 h 287"/>
              <a:gd name="T36" fmla="*/ 221 w 248"/>
              <a:gd name="T37" fmla="*/ 162 h 287"/>
              <a:gd name="T38" fmla="*/ 248 w 248"/>
              <a:gd name="T39" fmla="*/ 178 h 287"/>
              <a:gd name="T40" fmla="*/ 236 w 248"/>
              <a:gd name="T41" fmla="*/ 213 h 287"/>
              <a:gd name="T42" fmla="*/ 222 w 248"/>
              <a:gd name="T43" fmla="*/ 229 h 287"/>
              <a:gd name="T44" fmla="*/ 208 w 248"/>
              <a:gd name="T45" fmla="*/ 245 h 287"/>
              <a:gd name="T46" fmla="*/ 195 w 248"/>
              <a:gd name="T47" fmla="*/ 259 h 287"/>
              <a:gd name="T48" fmla="*/ 190 w 248"/>
              <a:gd name="T49" fmla="*/ 270 h 287"/>
              <a:gd name="T50" fmla="*/ 179 w 248"/>
              <a:gd name="T51" fmla="*/ 282 h 287"/>
              <a:gd name="T52" fmla="*/ 176 w 248"/>
              <a:gd name="T53" fmla="*/ 266 h 287"/>
              <a:gd name="T54" fmla="*/ 184 w 248"/>
              <a:gd name="T55" fmla="*/ 234 h 287"/>
              <a:gd name="T56" fmla="*/ 183 w 248"/>
              <a:gd name="T57" fmla="*/ 203 h 287"/>
              <a:gd name="T58" fmla="*/ 167 w 248"/>
              <a:gd name="T59" fmla="*/ 182 h 287"/>
              <a:gd name="T60" fmla="*/ 170 w 248"/>
              <a:gd name="T61" fmla="*/ 165 h 287"/>
              <a:gd name="T62" fmla="*/ 156 w 248"/>
              <a:gd name="T63" fmla="*/ 147 h 287"/>
              <a:gd name="T64" fmla="*/ 140 w 248"/>
              <a:gd name="T65" fmla="*/ 137 h 287"/>
              <a:gd name="T66" fmla="*/ 116 w 248"/>
              <a:gd name="T67" fmla="*/ 124 h 287"/>
              <a:gd name="T68" fmla="*/ 103 w 248"/>
              <a:gd name="T69" fmla="*/ 110 h 287"/>
              <a:gd name="T70" fmla="*/ 103 w 248"/>
              <a:gd name="T71" fmla="*/ 115 h 287"/>
              <a:gd name="T72" fmla="*/ 89 w 248"/>
              <a:gd name="T73" fmla="*/ 98 h 287"/>
              <a:gd name="T74" fmla="*/ 80 w 248"/>
              <a:gd name="T75" fmla="*/ 66 h 287"/>
              <a:gd name="T76" fmla="*/ 75 w 248"/>
              <a:gd name="T77" fmla="*/ 58 h 287"/>
              <a:gd name="T78" fmla="*/ 61 w 248"/>
              <a:gd name="T79" fmla="*/ 43 h 287"/>
              <a:gd name="T80" fmla="*/ 38 w 248"/>
              <a:gd name="T81" fmla="*/ 36 h 287"/>
              <a:gd name="T82" fmla="*/ 26 w 248"/>
              <a:gd name="T83" fmla="*/ 42 h 287"/>
              <a:gd name="T84" fmla="*/ 15 w 248"/>
              <a:gd name="T85" fmla="*/ 49 h 287"/>
              <a:gd name="T86" fmla="*/ 6 w 248"/>
              <a:gd name="T87" fmla="*/ 38 h 287"/>
              <a:gd name="T88" fmla="*/ 3 w 248"/>
              <a:gd name="T89" fmla="*/ 24 h 287"/>
              <a:gd name="T90" fmla="*/ 7 w 248"/>
              <a:gd name="T91" fmla="*/ 15 h 287"/>
              <a:gd name="T92" fmla="*/ 24 w 248"/>
              <a:gd name="T93" fmla="*/ 5 h 287"/>
              <a:gd name="T94" fmla="*/ 64 w 248"/>
              <a:gd name="T95" fmla="*/ 9 h 287"/>
              <a:gd name="T96" fmla="*/ 83 w 248"/>
              <a:gd name="T97" fmla="*/ 10 h 287"/>
              <a:gd name="T98" fmla="*/ 113 w 248"/>
              <a:gd name="T99" fmla="*/ 18 h 287"/>
              <a:gd name="T100" fmla="*/ 135 w 248"/>
              <a:gd name="T101" fmla="*/ 13 h 287"/>
              <a:gd name="T102" fmla="*/ 141 w 248"/>
              <a:gd name="T103" fmla="*/ 3 h 287"/>
              <a:gd name="T104" fmla="*/ 152 w 248"/>
              <a:gd name="T105" fmla="*/ 12 h 287"/>
              <a:gd name="T106" fmla="*/ 81 w 248"/>
              <a:gd name="T107" fmla="*/ 21 h 287"/>
              <a:gd name="T108" fmla="*/ 105 w 248"/>
              <a:gd name="T109" fmla="*/ 33 h 287"/>
              <a:gd name="T110" fmla="*/ 101 w 248"/>
              <a:gd name="T111" fmla="*/ 33 h 287"/>
              <a:gd name="T112" fmla="*/ 134 w 248"/>
              <a:gd name="T113" fmla="*/ 62 h 287"/>
              <a:gd name="T114" fmla="*/ 144 w 248"/>
              <a:gd name="T115" fmla="*/ 73 h 287"/>
              <a:gd name="T116" fmla="*/ 154 w 248"/>
              <a:gd name="T117" fmla="*/ 67 h 287"/>
              <a:gd name="T118" fmla="*/ 152 w 248"/>
              <a:gd name="T119" fmla="*/ 85 h 287"/>
              <a:gd name="T120" fmla="*/ 168 w 248"/>
              <a:gd name="T121" fmla="*/ 79 h 287"/>
              <a:gd name="T122" fmla="*/ 164 w 248"/>
              <a:gd name="T123" fmla="*/ 8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287">
                <a:moveTo>
                  <a:pt x="151" y="15"/>
                </a:moveTo>
                <a:cubicBezTo>
                  <a:pt x="151" y="16"/>
                  <a:pt x="152" y="14"/>
                  <a:pt x="152" y="17"/>
                </a:cubicBezTo>
                <a:cubicBezTo>
                  <a:pt x="152" y="17"/>
                  <a:pt x="153" y="17"/>
                  <a:pt x="153" y="17"/>
                </a:cubicBezTo>
                <a:cubicBezTo>
                  <a:pt x="154" y="16"/>
                  <a:pt x="154" y="15"/>
                  <a:pt x="154" y="14"/>
                </a:cubicBezTo>
                <a:cubicBezTo>
                  <a:pt x="155" y="14"/>
                  <a:pt x="155" y="14"/>
                  <a:pt x="155" y="13"/>
                </a:cubicBezTo>
                <a:cubicBezTo>
                  <a:pt x="157" y="13"/>
                  <a:pt x="156" y="11"/>
                  <a:pt x="157" y="12"/>
                </a:cubicBezTo>
                <a:cubicBezTo>
                  <a:pt x="157" y="11"/>
                  <a:pt x="157" y="10"/>
                  <a:pt x="157" y="9"/>
                </a:cubicBezTo>
                <a:cubicBezTo>
                  <a:pt x="159" y="8"/>
                  <a:pt x="159" y="8"/>
                  <a:pt x="161" y="9"/>
                </a:cubicBezTo>
                <a:cubicBezTo>
                  <a:pt x="161" y="9"/>
                  <a:pt x="161" y="10"/>
                  <a:pt x="161" y="10"/>
                </a:cubicBezTo>
                <a:cubicBezTo>
                  <a:pt x="161" y="10"/>
                  <a:pt x="162" y="10"/>
                  <a:pt x="162" y="10"/>
                </a:cubicBezTo>
                <a:cubicBezTo>
                  <a:pt x="163" y="10"/>
                  <a:pt x="163" y="11"/>
                  <a:pt x="164" y="11"/>
                </a:cubicBezTo>
                <a:cubicBezTo>
                  <a:pt x="164" y="12"/>
                  <a:pt x="163" y="13"/>
                  <a:pt x="162" y="13"/>
                </a:cubicBezTo>
                <a:cubicBezTo>
                  <a:pt x="163" y="14"/>
                  <a:pt x="163" y="16"/>
                  <a:pt x="164" y="16"/>
                </a:cubicBezTo>
                <a:cubicBezTo>
                  <a:pt x="164" y="17"/>
                  <a:pt x="162" y="17"/>
                  <a:pt x="162" y="18"/>
                </a:cubicBezTo>
                <a:cubicBezTo>
                  <a:pt x="161" y="18"/>
                  <a:pt x="161" y="19"/>
                  <a:pt x="161" y="18"/>
                </a:cubicBezTo>
                <a:cubicBezTo>
                  <a:pt x="160" y="19"/>
                  <a:pt x="160" y="20"/>
                  <a:pt x="159" y="21"/>
                </a:cubicBezTo>
                <a:cubicBezTo>
                  <a:pt x="159" y="20"/>
                  <a:pt x="160" y="19"/>
                  <a:pt x="157" y="20"/>
                </a:cubicBezTo>
                <a:cubicBezTo>
                  <a:pt x="158" y="19"/>
                  <a:pt x="158" y="19"/>
                  <a:pt x="158" y="19"/>
                </a:cubicBezTo>
                <a:cubicBezTo>
                  <a:pt x="157" y="18"/>
                  <a:pt x="156" y="20"/>
                  <a:pt x="154" y="19"/>
                </a:cubicBezTo>
                <a:cubicBezTo>
                  <a:pt x="155" y="21"/>
                  <a:pt x="154" y="20"/>
                  <a:pt x="154" y="22"/>
                </a:cubicBezTo>
                <a:cubicBezTo>
                  <a:pt x="154" y="22"/>
                  <a:pt x="154" y="22"/>
                  <a:pt x="154" y="21"/>
                </a:cubicBezTo>
                <a:cubicBezTo>
                  <a:pt x="153" y="21"/>
                  <a:pt x="153" y="23"/>
                  <a:pt x="151" y="23"/>
                </a:cubicBezTo>
                <a:cubicBezTo>
                  <a:pt x="152" y="23"/>
                  <a:pt x="152" y="23"/>
                  <a:pt x="152" y="24"/>
                </a:cubicBezTo>
                <a:cubicBezTo>
                  <a:pt x="152" y="24"/>
                  <a:pt x="152" y="25"/>
                  <a:pt x="152" y="25"/>
                </a:cubicBezTo>
                <a:cubicBezTo>
                  <a:pt x="151" y="24"/>
                  <a:pt x="150" y="27"/>
                  <a:pt x="149" y="27"/>
                </a:cubicBezTo>
                <a:cubicBezTo>
                  <a:pt x="149" y="27"/>
                  <a:pt x="148" y="26"/>
                  <a:pt x="148" y="28"/>
                </a:cubicBezTo>
                <a:cubicBezTo>
                  <a:pt x="148" y="28"/>
                  <a:pt x="147" y="28"/>
                  <a:pt x="146" y="28"/>
                </a:cubicBezTo>
                <a:cubicBezTo>
                  <a:pt x="146" y="28"/>
                  <a:pt x="146" y="29"/>
                  <a:pt x="146" y="30"/>
                </a:cubicBezTo>
                <a:cubicBezTo>
                  <a:pt x="145" y="29"/>
                  <a:pt x="145" y="29"/>
                  <a:pt x="145" y="30"/>
                </a:cubicBezTo>
                <a:cubicBezTo>
                  <a:pt x="144" y="29"/>
                  <a:pt x="144" y="30"/>
                  <a:pt x="143" y="30"/>
                </a:cubicBezTo>
                <a:cubicBezTo>
                  <a:pt x="143" y="31"/>
                  <a:pt x="143" y="31"/>
                  <a:pt x="143" y="32"/>
                </a:cubicBezTo>
                <a:cubicBezTo>
                  <a:pt x="142" y="31"/>
                  <a:pt x="142" y="32"/>
                  <a:pt x="142" y="33"/>
                </a:cubicBezTo>
                <a:cubicBezTo>
                  <a:pt x="141" y="34"/>
                  <a:pt x="140" y="35"/>
                  <a:pt x="140" y="38"/>
                </a:cubicBezTo>
                <a:cubicBezTo>
                  <a:pt x="139" y="38"/>
                  <a:pt x="138" y="39"/>
                  <a:pt x="137" y="40"/>
                </a:cubicBezTo>
                <a:cubicBezTo>
                  <a:pt x="138" y="41"/>
                  <a:pt x="138" y="40"/>
                  <a:pt x="138" y="40"/>
                </a:cubicBezTo>
                <a:cubicBezTo>
                  <a:pt x="138" y="40"/>
                  <a:pt x="138" y="41"/>
                  <a:pt x="138" y="41"/>
                </a:cubicBezTo>
                <a:cubicBezTo>
                  <a:pt x="139" y="41"/>
                  <a:pt x="139" y="42"/>
                  <a:pt x="139" y="42"/>
                </a:cubicBezTo>
                <a:cubicBezTo>
                  <a:pt x="140" y="42"/>
                  <a:pt x="140" y="41"/>
                  <a:pt x="141" y="42"/>
                </a:cubicBezTo>
                <a:cubicBezTo>
                  <a:pt x="141" y="42"/>
                  <a:pt x="142" y="42"/>
                  <a:pt x="142" y="42"/>
                </a:cubicBezTo>
                <a:cubicBezTo>
                  <a:pt x="142" y="43"/>
                  <a:pt x="142" y="43"/>
                  <a:pt x="142" y="44"/>
                </a:cubicBezTo>
                <a:cubicBezTo>
                  <a:pt x="142" y="45"/>
                  <a:pt x="143" y="44"/>
                  <a:pt x="143" y="45"/>
                </a:cubicBezTo>
                <a:cubicBezTo>
                  <a:pt x="143" y="45"/>
                  <a:pt x="144" y="46"/>
                  <a:pt x="144" y="46"/>
                </a:cubicBezTo>
                <a:cubicBezTo>
                  <a:pt x="146" y="46"/>
                  <a:pt x="148" y="47"/>
                  <a:pt x="150" y="46"/>
                </a:cubicBezTo>
                <a:cubicBezTo>
                  <a:pt x="150" y="48"/>
                  <a:pt x="152" y="48"/>
                  <a:pt x="153" y="49"/>
                </a:cubicBezTo>
                <a:cubicBezTo>
                  <a:pt x="153" y="49"/>
                  <a:pt x="153" y="49"/>
                  <a:pt x="153" y="49"/>
                </a:cubicBezTo>
                <a:cubicBezTo>
                  <a:pt x="153" y="50"/>
                  <a:pt x="154" y="49"/>
                  <a:pt x="154" y="49"/>
                </a:cubicBezTo>
                <a:cubicBezTo>
                  <a:pt x="154" y="49"/>
                  <a:pt x="154" y="50"/>
                  <a:pt x="155" y="50"/>
                </a:cubicBezTo>
                <a:cubicBezTo>
                  <a:pt x="155" y="50"/>
                  <a:pt x="156" y="50"/>
                  <a:pt x="156" y="51"/>
                </a:cubicBezTo>
                <a:cubicBezTo>
                  <a:pt x="159" y="51"/>
                  <a:pt x="160" y="52"/>
                  <a:pt x="162" y="52"/>
                </a:cubicBezTo>
                <a:cubicBezTo>
                  <a:pt x="162" y="54"/>
                  <a:pt x="162" y="55"/>
                  <a:pt x="163" y="56"/>
                </a:cubicBezTo>
                <a:cubicBezTo>
                  <a:pt x="163" y="56"/>
                  <a:pt x="163" y="56"/>
                  <a:pt x="163" y="56"/>
                </a:cubicBezTo>
                <a:cubicBezTo>
                  <a:pt x="163" y="57"/>
                  <a:pt x="163" y="57"/>
                  <a:pt x="163" y="57"/>
                </a:cubicBezTo>
                <a:cubicBezTo>
                  <a:pt x="163" y="58"/>
                  <a:pt x="163" y="57"/>
                  <a:pt x="164" y="58"/>
                </a:cubicBezTo>
                <a:cubicBezTo>
                  <a:pt x="164" y="58"/>
                  <a:pt x="163" y="59"/>
                  <a:pt x="164" y="59"/>
                </a:cubicBezTo>
                <a:cubicBezTo>
                  <a:pt x="164" y="59"/>
                  <a:pt x="164" y="59"/>
                  <a:pt x="164" y="60"/>
                </a:cubicBezTo>
                <a:cubicBezTo>
                  <a:pt x="164" y="60"/>
                  <a:pt x="164" y="60"/>
                  <a:pt x="164" y="60"/>
                </a:cubicBezTo>
                <a:cubicBezTo>
                  <a:pt x="165" y="60"/>
                  <a:pt x="164" y="61"/>
                  <a:pt x="164" y="61"/>
                </a:cubicBezTo>
                <a:cubicBezTo>
                  <a:pt x="165" y="61"/>
                  <a:pt x="165" y="61"/>
                  <a:pt x="165" y="61"/>
                </a:cubicBezTo>
                <a:cubicBezTo>
                  <a:pt x="166" y="61"/>
                  <a:pt x="168" y="62"/>
                  <a:pt x="169" y="61"/>
                </a:cubicBezTo>
                <a:cubicBezTo>
                  <a:pt x="170" y="59"/>
                  <a:pt x="170" y="58"/>
                  <a:pt x="169" y="56"/>
                </a:cubicBezTo>
                <a:cubicBezTo>
                  <a:pt x="169" y="56"/>
                  <a:pt x="168" y="56"/>
                  <a:pt x="168" y="56"/>
                </a:cubicBezTo>
                <a:cubicBezTo>
                  <a:pt x="168" y="55"/>
                  <a:pt x="169" y="53"/>
                  <a:pt x="167" y="54"/>
                </a:cubicBezTo>
                <a:cubicBezTo>
                  <a:pt x="168" y="53"/>
                  <a:pt x="168" y="53"/>
                  <a:pt x="168" y="52"/>
                </a:cubicBezTo>
                <a:cubicBezTo>
                  <a:pt x="170" y="53"/>
                  <a:pt x="170" y="52"/>
                  <a:pt x="171" y="52"/>
                </a:cubicBezTo>
                <a:cubicBezTo>
                  <a:pt x="172" y="52"/>
                  <a:pt x="172" y="50"/>
                  <a:pt x="172" y="50"/>
                </a:cubicBezTo>
                <a:cubicBezTo>
                  <a:pt x="172" y="50"/>
                  <a:pt x="173" y="51"/>
                  <a:pt x="173" y="50"/>
                </a:cubicBezTo>
                <a:cubicBezTo>
                  <a:pt x="172" y="48"/>
                  <a:pt x="174" y="46"/>
                  <a:pt x="173" y="45"/>
                </a:cubicBezTo>
                <a:cubicBezTo>
                  <a:pt x="173" y="44"/>
                  <a:pt x="172" y="45"/>
                  <a:pt x="172" y="45"/>
                </a:cubicBezTo>
                <a:cubicBezTo>
                  <a:pt x="172" y="45"/>
                  <a:pt x="172" y="43"/>
                  <a:pt x="171" y="44"/>
                </a:cubicBezTo>
                <a:cubicBezTo>
                  <a:pt x="171" y="43"/>
                  <a:pt x="170" y="43"/>
                  <a:pt x="171" y="42"/>
                </a:cubicBezTo>
                <a:cubicBezTo>
                  <a:pt x="170" y="41"/>
                  <a:pt x="171" y="40"/>
                  <a:pt x="172" y="40"/>
                </a:cubicBezTo>
                <a:cubicBezTo>
                  <a:pt x="171" y="40"/>
                  <a:pt x="173" y="37"/>
                  <a:pt x="171" y="37"/>
                </a:cubicBezTo>
                <a:cubicBezTo>
                  <a:pt x="171" y="37"/>
                  <a:pt x="171" y="36"/>
                  <a:pt x="171" y="36"/>
                </a:cubicBezTo>
                <a:cubicBezTo>
                  <a:pt x="171" y="36"/>
                  <a:pt x="171" y="36"/>
                  <a:pt x="171" y="35"/>
                </a:cubicBezTo>
                <a:cubicBezTo>
                  <a:pt x="171" y="35"/>
                  <a:pt x="171" y="35"/>
                  <a:pt x="171" y="35"/>
                </a:cubicBezTo>
                <a:cubicBezTo>
                  <a:pt x="171" y="34"/>
                  <a:pt x="171" y="34"/>
                  <a:pt x="171" y="34"/>
                </a:cubicBezTo>
                <a:cubicBezTo>
                  <a:pt x="171" y="33"/>
                  <a:pt x="171" y="32"/>
                  <a:pt x="171" y="32"/>
                </a:cubicBezTo>
                <a:cubicBezTo>
                  <a:pt x="171" y="31"/>
                  <a:pt x="174" y="31"/>
                  <a:pt x="174" y="32"/>
                </a:cubicBezTo>
                <a:cubicBezTo>
                  <a:pt x="176" y="32"/>
                  <a:pt x="178" y="33"/>
                  <a:pt x="179" y="31"/>
                </a:cubicBezTo>
                <a:cubicBezTo>
                  <a:pt x="180" y="33"/>
                  <a:pt x="182" y="33"/>
                  <a:pt x="182" y="35"/>
                </a:cubicBezTo>
                <a:cubicBezTo>
                  <a:pt x="183" y="35"/>
                  <a:pt x="185" y="35"/>
                  <a:pt x="186" y="35"/>
                </a:cubicBezTo>
                <a:cubicBezTo>
                  <a:pt x="186" y="36"/>
                  <a:pt x="186" y="36"/>
                  <a:pt x="187" y="36"/>
                </a:cubicBezTo>
                <a:cubicBezTo>
                  <a:pt x="187" y="37"/>
                  <a:pt x="187" y="38"/>
                  <a:pt x="187" y="39"/>
                </a:cubicBezTo>
                <a:cubicBezTo>
                  <a:pt x="187" y="40"/>
                  <a:pt x="188" y="41"/>
                  <a:pt x="187" y="41"/>
                </a:cubicBezTo>
                <a:cubicBezTo>
                  <a:pt x="187" y="42"/>
                  <a:pt x="188" y="42"/>
                  <a:pt x="189" y="42"/>
                </a:cubicBezTo>
                <a:cubicBezTo>
                  <a:pt x="188" y="43"/>
                  <a:pt x="190" y="42"/>
                  <a:pt x="189" y="44"/>
                </a:cubicBezTo>
                <a:cubicBezTo>
                  <a:pt x="191" y="44"/>
                  <a:pt x="192" y="43"/>
                  <a:pt x="193" y="43"/>
                </a:cubicBezTo>
                <a:cubicBezTo>
                  <a:pt x="194" y="43"/>
                  <a:pt x="193" y="42"/>
                  <a:pt x="193" y="42"/>
                </a:cubicBezTo>
                <a:cubicBezTo>
                  <a:pt x="193" y="41"/>
                  <a:pt x="194" y="41"/>
                  <a:pt x="194" y="42"/>
                </a:cubicBezTo>
                <a:cubicBezTo>
                  <a:pt x="194" y="40"/>
                  <a:pt x="195" y="40"/>
                  <a:pt x="196" y="40"/>
                </a:cubicBezTo>
                <a:cubicBezTo>
                  <a:pt x="196" y="39"/>
                  <a:pt x="195" y="39"/>
                  <a:pt x="195" y="39"/>
                </a:cubicBezTo>
                <a:cubicBezTo>
                  <a:pt x="195" y="39"/>
                  <a:pt x="196" y="39"/>
                  <a:pt x="197" y="38"/>
                </a:cubicBezTo>
                <a:cubicBezTo>
                  <a:pt x="196" y="40"/>
                  <a:pt x="197" y="40"/>
                  <a:pt x="198" y="41"/>
                </a:cubicBezTo>
                <a:cubicBezTo>
                  <a:pt x="199" y="42"/>
                  <a:pt x="199" y="43"/>
                  <a:pt x="201" y="43"/>
                </a:cubicBezTo>
                <a:cubicBezTo>
                  <a:pt x="201" y="43"/>
                  <a:pt x="200" y="43"/>
                  <a:pt x="200" y="44"/>
                </a:cubicBezTo>
                <a:cubicBezTo>
                  <a:pt x="200" y="44"/>
                  <a:pt x="201" y="44"/>
                  <a:pt x="201" y="45"/>
                </a:cubicBezTo>
                <a:cubicBezTo>
                  <a:pt x="201" y="45"/>
                  <a:pt x="201" y="44"/>
                  <a:pt x="201" y="44"/>
                </a:cubicBezTo>
                <a:cubicBezTo>
                  <a:pt x="203" y="44"/>
                  <a:pt x="201" y="46"/>
                  <a:pt x="203" y="45"/>
                </a:cubicBezTo>
                <a:cubicBezTo>
                  <a:pt x="202" y="47"/>
                  <a:pt x="203" y="47"/>
                  <a:pt x="202" y="48"/>
                </a:cubicBezTo>
                <a:cubicBezTo>
                  <a:pt x="202" y="49"/>
                  <a:pt x="203" y="49"/>
                  <a:pt x="204" y="49"/>
                </a:cubicBezTo>
                <a:cubicBezTo>
                  <a:pt x="204" y="49"/>
                  <a:pt x="203" y="50"/>
                  <a:pt x="203" y="50"/>
                </a:cubicBezTo>
                <a:cubicBezTo>
                  <a:pt x="203" y="50"/>
                  <a:pt x="204" y="50"/>
                  <a:pt x="205" y="51"/>
                </a:cubicBezTo>
                <a:cubicBezTo>
                  <a:pt x="205" y="51"/>
                  <a:pt x="205" y="51"/>
                  <a:pt x="206" y="52"/>
                </a:cubicBezTo>
                <a:cubicBezTo>
                  <a:pt x="206" y="52"/>
                  <a:pt x="207" y="52"/>
                  <a:pt x="208" y="53"/>
                </a:cubicBezTo>
                <a:cubicBezTo>
                  <a:pt x="209" y="53"/>
                  <a:pt x="209" y="51"/>
                  <a:pt x="209" y="52"/>
                </a:cubicBezTo>
                <a:cubicBezTo>
                  <a:pt x="209" y="54"/>
                  <a:pt x="208" y="54"/>
                  <a:pt x="207" y="54"/>
                </a:cubicBezTo>
                <a:cubicBezTo>
                  <a:pt x="208" y="55"/>
                  <a:pt x="209" y="55"/>
                  <a:pt x="211" y="55"/>
                </a:cubicBezTo>
                <a:cubicBezTo>
                  <a:pt x="211" y="56"/>
                  <a:pt x="211" y="56"/>
                  <a:pt x="212" y="56"/>
                </a:cubicBezTo>
                <a:cubicBezTo>
                  <a:pt x="211" y="57"/>
                  <a:pt x="212" y="58"/>
                  <a:pt x="213" y="58"/>
                </a:cubicBezTo>
                <a:cubicBezTo>
                  <a:pt x="212" y="58"/>
                  <a:pt x="212" y="59"/>
                  <a:pt x="212" y="60"/>
                </a:cubicBezTo>
                <a:cubicBezTo>
                  <a:pt x="211" y="60"/>
                  <a:pt x="210" y="60"/>
                  <a:pt x="209" y="61"/>
                </a:cubicBezTo>
                <a:cubicBezTo>
                  <a:pt x="209" y="61"/>
                  <a:pt x="209" y="61"/>
                  <a:pt x="209" y="61"/>
                </a:cubicBezTo>
                <a:cubicBezTo>
                  <a:pt x="208" y="61"/>
                  <a:pt x="208" y="61"/>
                  <a:pt x="208" y="62"/>
                </a:cubicBezTo>
                <a:cubicBezTo>
                  <a:pt x="208" y="63"/>
                  <a:pt x="207" y="62"/>
                  <a:pt x="207" y="62"/>
                </a:cubicBezTo>
                <a:cubicBezTo>
                  <a:pt x="207" y="62"/>
                  <a:pt x="206" y="63"/>
                  <a:pt x="206" y="63"/>
                </a:cubicBezTo>
                <a:cubicBezTo>
                  <a:pt x="206" y="63"/>
                  <a:pt x="206" y="64"/>
                  <a:pt x="206" y="64"/>
                </a:cubicBezTo>
                <a:cubicBezTo>
                  <a:pt x="205" y="65"/>
                  <a:pt x="203" y="64"/>
                  <a:pt x="205" y="65"/>
                </a:cubicBezTo>
                <a:cubicBezTo>
                  <a:pt x="204" y="66"/>
                  <a:pt x="203" y="65"/>
                  <a:pt x="202" y="65"/>
                </a:cubicBezTo>
                <a:cubicBezTo>
                  <a:pt x="201" y="65"/>
                  <a:pt x="200" y="65"/>
                  <a:pt x="199" y="65"/>
                </a:cubicBezTo>
                <a:cubicBezTo>
                  <a:pt x="198" y="65"/>
                  <a:pt x="198" y="65"/>
                  <a:pt x="198" y="65"/>
                </a:cubicBezTo>
                <a:cubicBezTo>
                  <a:pt x="195" y="64"/>
                  <a:pt x="193" y="65"/>
                  <a:pt x="192" y="65"/>
                </a:cubicBezTo>
                <a:cubicBezTo>
                  <a:pt x="190" y="66"/>
                  <a:pt x="189" y="68"/>
                  <a:pt x="187" y="68"/>
                </a:cubicBezTo>
                <a:cubicBezTo>
                  <a:pt x="188" y="69"/>
                  <a:pt x="187" y="69"/>
                  <a:pt x="186" y="70"/>
                </a:cubicBezTo>
                <a:cubicBezTo>
                  <a:pt x="186" y="70"/>
                  <a:pt x="186" y="71"/>
                  <a:pt x="186" y="71"/>
                </a:cubicBezTo>
                <a:cubicBezTo>
                  <a:pt x="187" y="71"/>
                  <a:pt x="187" y="70"/>
                  <a:pt x="188" y="69"/>
                </a:cubicBezTo>
                <a:cubicBezTo>
                  <a:pt x="188" y="69"/>
                  <a:pt x="190" y="69"/>
                  <a:pt x="190" y="68"/>
                </a:cubicBezTo>
                <a:cubicBezTo>
                  <a:pt x="190" y="67"/>
                  <a:pt x="191" y="70"/>
                  <a:pt x="191" y="67"/>
                </a:cubicBezTo>
                <a:cubicBezTo>
                  <a:pt x="191" y="67"/>
                  <a:pt x="192" y="68"/>
                  <a:pt x="192" y="68"/>
                </a:cubicBezTo>
                <a:cubicBezTo>
                  <a:pt x="192" y="68"/>
                  <a:pt x="192" y="67"/>
                  <a:pt x="192" y="67"/>
                </a:cubicBezTo>
                <a:cubicBezTo>
                  <a:pt x="193" y="67"/>
                  <a:pt x="194" y="67"/>
                  <a:pt x="195" y="67"/>
                </a:cubicBezTo>
                <a:cubicBezTo>
                  <a:pt x="195" y="67"/>
                  <a:pt x="196" y="67"/>
                  <a:pt x="196" y="67"/>
                </a:cubicBezTo>
                <a:cubicBezTo>
                  <a:pt x="197" y="67"/>
                  <a:pt x="197" y="70"/>
                  <a:pt x="195" y="69"/>
                </a:cubicBezTo>
                <a:cubicBezTo>
                  <a:pt x="196" y="70"/>
                  <a:pt x="194" y="70"/>
                  <a:pt x="195" y="72"/>
                </a:cubicBezTo>
                <a:cubicBezTo>
                  <a:pt x="195" y="72"/>
                  <a:pt x="195" y="73"/>
                  <a:pt x="195" y="73"/>
                </a:cubicBezTo>
                <a:cubicBezTo>
                  <a:pt x="196" y="73"/>
                  <a:pt x="196" y="73"/>
                  <a:pt x="196" y="73"/>
                </a:cubicBezTo>
                <a:cubicBezTo>
                  <a:pt x="196" y="74"/>
                  <a:pt x="197" y="74"/>
                  <a:pt x="197" y="74"/>
                </a:cubicBezTo>
                <a:cubicBezTo>
                  <a:pt x="197" y="74"/>
                  <a:pt x="198" y="75"/>
                  <a:pt x="198" y="75"/>
                </a:cubicBezTo>
                <a:cubicBezTo>
                  <a:pt x="198" y="75"/>
                  <a:pt x="199" y="75"/>
                  <a:pt x="199" y="75"/>
                </a:cubicBezTo>
                <a:cubicBezTo>
                  <a:pt x="199" y="75"/>
                  <a:pt x="199" y="75"/>
                  <a:pt x="199" y="75"/>
                </a:cubicBezTo>
                <a:cubicBezTo>
                  <a:pt x="200" y="76"/>
                  <a:pt x="201" y="74"/>
                  <a:pt x="201" y="75"/>
                </a:cubicBezTo>
                <a:cubicBezTo>
                  <a:pt x="202" y="75"/>
                  <a:pt x="202" y="75"/>
                  <a:pt x="202" y="74"/>
                </a:cubicBezTo>
                <a:cubicBezTo>
                  <a:pt x="202" y="74"/>
                  <a:pt x="203" y="75"/>
                  <a:pt x="203" y="74"/>
                </a:cubicBezTo>
                <a:cubicBezTo>
                  <a:pt x="203" y="74"/>
                  <a:pt x="203" y="73"/>
                  <a:pt x="203" y="73"/>
                </a:cubicBezTo>
                <a:cubicBezTo>
                  <a:pt x="204" y="73"/>
                  <a:pt x="204" y="73"/>
                  <a:pt x="204" y="74"/>
                </a:cubicBezTo>
                <a:cubicBezTo>
                  <a:pt x="204" y="75"/>
                  <a:pt x="205" y="74"/>
                  <a:pt x="205" y="76"/>
                </a:cubicBezTo>
                <a:cubicBezTo>
                  <a:pt x="204" y="76"/>
                  <a:pt x="204" y="75"/>
                  <a:pt x="203" y="75"/>
                </a:cubicBezTo>
                <a:cubicBezTo>
                  <a:pt x="203" y="76"/>
                  <a:pt x="202" y="76"/>
                  <a:pt x="202" y="77"/>
                </a:cubicBezTo>
                <a:cubicBezTo>
                  <a:pt x="202" y="77"/>
                  <a:pt x="201" y="77"/>
                  <a:pt x="200" y="77"/>
                </a:cubicBezTo>
                <a:cubicBezTo>
                  <a:pt x="200" y="77"/>
                  <a:pt x="200" y="78"/>
                  <a:pt x="198" y="78"/>
                </a:cubicBezTo>
                <a:cubicBezTo>
                  <a:pt x="197" y="77"/>
                  <a:pt x="198" y="79"/>
                  <a:pt x="197" y="79"/>
                </a:cubicBezTo>
                <a:cubicBezTo>
                  <a:pt x="197" y="79"/>
                  <a:pt x="197" y="79"/>
                  <a:pt x="197" y="79"/>
                </a:cubicBezTo>
                <a:cubicBezTo>
                  <a:pt x="196" y="79"/>
                  <a:pt x="196" y="80"/>
                  <a:pt x="194" y="80"/>
                </a:cubicBezTo>
                <a:cubicBezTo>
                  <a:pt x="195" y="79"/>
                  <a:pt x="194" y="79"/>
                  <a:pt x="194" y="78"/>
                </a:cubicBezTo>
                <a:cubicBezTo>
                  <a:pt x="195" y="78"/>
                  <a:pt x="196" y="77"/>
                  <a:pt x="197" y="78"/>
                </a:cubicBezTo>
                <a:cubicBezTo>
                  <a:pt x="197" y="76"/>
                  <a:pt x="196" y="76"/>
                  <a:pt x="195" y="76"/>
                </a:cubicBezTo>
                <a:cubicBezTo>
                  <a:pt x="194" y="75"/>
                  <a:pt x="193" y="77"/>
                  <a:pt x="192" y="77"/>
                </a:cubicBezTo>
                <a:cubicBezTo>
                  <a:pt x="192" y="77"/>
                  <a:pt x="191" y="78"/>
                  <a:pt x="191" y="78"/>
                </a:cubicBezTo>
                <a:cubicBezTo>
                  <a:pt x="191" y="78"/>
                  <a:pt x="191" y="78"/>
                  <a:pt x="191" y="79"/>
                </a:cubicBezTo>
                <a:cubicBezTo>
                  <a:pt x="188" y="78"/>
                  <a:pt x="188" y="80"/>
                  <a:pt x="186" y="79"/>
                </a:cubicBezTo>
                <a:cubicBezTo>
                  <a:pt x="187" y="80"/>
                  <a:pt x="187" y="80"/>
                  <a:pt x="185" y="80"/>
                </a:cubicBezTo>
                <a:cubicBezTo>
                  <a:pt x="184" y="81"/>
                  <a:pt x="184" y="83"/>
                  <a:pt x="185" y="84"/>
                </a:cubicBezTo>
                <a:cubicBezTo>
                  <a:pt x="185" y="85"/>
                  <a:pt x="184" y="84"/>
                  <a:pt x="184" y="86"/>
                </a:cubicBezTo>
                <a:cubicBezTo>
                  <a:pt x="184" y="86"/>
                  <a:pt x="183" y="85"/>
                  <a:pt x="183" y="86"/>
                </a:cubicBezTo>
                <a:cubicBezTo>
                  <a:pt x="182" y="86"/>
                  <a:pt x="182" y="86"/>
                  <a:pt x="182" y="87"/>
                </a:cubicBezTo>
                <a:cubicBezTo>
                  <a:pt x="181" y="87"/>
                  <a:pt x="180" y="87"/>
                  <a:pt x="179" y="87"/>
                </a:cubicBezTo>
                <a:cubicBezTo>
                  <a:pt x="179" y="88"/>
                  <a:pt x="178" y="88"/>
                  <a:pt x="178" y="88"/>
                </a:cubicBezTo>
                <a:cubicBezTo>
                  <a:pt x="178" y="89"/>
                  <a:pt x="177" y="90"/>
                  <a:pt x="177" y="91"/>
                </a:cubicBezTo>
                <a:cubicBezTo>
                  <a:pt x="176" y="91"/>
                  <a:pt x="175" y="91"/>
                  <a:pt x="176" y="93"/>
                </a:cubicBezTo>
                <a:cubicBezTo>
                  <a:pt x="175" y="93"/>
                  <a:pt x="175" y="92"/>
                  <a:pt x="174" y="92"/>
                </a:cubicBezTo>
                <a:cubicBezTo>
                  <a:pt x="173" y="92"/>
                  <a:pt x="174" y="93"/>
                  <a:pt x="173" y="93"/>
                </a:cubicBezTo>
                <a:cubicBezTo>
                  <a:pt x="175" y="95"/>
                  <a:pt x="175" y="96"/>
                  <a:pt x="175" y="99"/>
                </a:cubicBezTo>
                <a:cubicBezTo>
                  <a:pt x="174" y="98"/>
                  <a:pt x="174" y="99"/>
                  <a:pt x="174" y="100"/>
                </a:cubicBezTo>
                <a:cubicBezTo>
                  <a:pt x="174" y="100"/>
                  <a:pt x="173" y="99"/>
                  <a:pt x="173" y="100"/>
                </a:cubicBezTo>
                <a:cubicBezTo>
                  <a:pt x="173" y="100"/>
                  <a:pt x="172" y="100"/>
                  <a:pt x="172" y="101"/>
                </a:cubicBezTo>
                <a:cubicBezTo>
                  <a:pt x="171" y="101"/>
                  <a:pt x="171" y="102"/>
                  <a:pt x="171" y="102"/>
                </a:cubicBezTo>
                <a:cubicBezTo>
                  <a:pt x="170" y="102"/>
                  <a:pt x="169" y="102"/>
                  <a:pt x="169" y="102"/>
                </a:cubicBezTo>
                <a:cubicBezTo>
                  <a:pt x="168" y="103"/>
                  <a:pt x="167" y="104"/>
                  <a:pt x="167" y="105"/>
                </a:cubicBezTo>
                <a:cubicBezTo>
                  <a:pt x="166" y="105"/>
                  <a:pt x="166" y="106"/>
                  <a:pt x="164" y="106"/>
                </a:cubicBezTo>
                <a:cubicBezTo>
                  <a:pt x="165" y="108"/>
                  <a:pt x="163" y="111"/>
                  <a:pt x="165" y="111"/>
                </a:cubicBezTo>
                <a:cubicBezTo>
                  <a:pt x="164" y="113"/>
                  <a:pt x="166" y="113"/>
                  <a:pt x="166" y="115"/>
                </a:cubicBezTo>
                <a:cubicBezTo>
                  <a:pt x="166" y="116"/>
                  <a:pt x="166" y="116"/>
                  <a:pt x="167" y="116"/>
                </a:cubicBezTo>
                <a:cubicBezTo>
                  <a:pt x="166" y="117"/>
                  <a:pt x="167" y="117"/>
                  <a:pt x="167" y="119"/>
                </a:cubicBezTo>
                <a:cubicBezTo>
                  <a:pt x="166" y="119"/>
                  <a:pt x="165" y="120"/>
                  <a:pt x="165" y="120"/>
                </a:cubicBezTo>
                <a:cubicBezTo>
                  <a:pt x="164" y="120"/>
                  <a:pt x="165" y="119"/>
                  <a:pt x="164" y="119"/>
                </a:cubicBezTo>
                <a:cubicBezTo>
                  <a:pt x="164" y="118"/>
                  <a:pt x="164" y="119"/>
                  <a:pt x="163" y="118"/>
                </a:cubicBezTo>
                <a:cubicBezTo>
                  <a:pt x="163" y="118"/>
                  <a:pt x="163" y="117"/>
                  <a:pt x="162" y="117"/>
                </a:cubicBezTo>
                <a:cubicBezTo>
                  <a:pt x="162" y="116"/>
                  <a:pt x="163" y="115"/>
                  <a:pt x="161" y="115"/>
                </a:cubicBezTo>
                <a:cubicBezTo>
                  <a:pt x="162" y="113"/>
                  <a:pt x="161" y="113"/>
                  <a:pt x="161" y="111"/>
                </a:cubicBezTo>
                <a:cubicBezTo>
                  <a:pt x="160" y="111"/>
                  <a:pt x="160" y="111"/>
                  <a:pt x="160" y="111"/>
                </a:cubicBezTo>
                <a:cubicBezTo>
                  <a:pt x="160" y="111"/>
                  <a:pt x="160" y="111"/>
                  <a:pt x="160" y="110"/>
                </a:cubicBezTo>
                <a:cubicBezTo>
                  <a:pt x="159" y="111"/>
                  <a:pt x="157" y="111"/>
                  <a:pt x="156" y="110"/>
                </a:cubicBezTo>
                <a:cubicBezTo>
                  <a:pt x="156" y="110"/>
                  <a:pt x="156" y="110"/>
                  <a:pt x="155" y="109"/>
                </a:cubicBezTo>
                <a:cubicBezTo>
                  <a:pt x="155" y="109"/>
                  <a:pt x="154" y="110"/>
                  <a:pt x="153" y="110"/>
                </a:cubicBezTo>
                <a:cubicBezTo>
                  <a:pt x="153" y="110"/>
                  <a:pt x="155" y="108"/>
                  <a:pt x="153" y="109"/>
                </a:cubicBezTo>
                <a:cubicBezTo>
                  <a:pt x="153" y="109"/>
                  <a:pt x="153" y="109"/>
                  <a:pt x="153" y="109"/>
                </a:cubicBezTo>
                <a:cubicBezTo>
                  <a:pt x="152" y="110"/>
                  <a:pt x="150" y="110"/>
                  <a:pt x="149" y="109"/>
                </a:cubicBezTo>
                <a:cubicBezTo>
                  <a:pt x="148" y="109"/>
                  <a:pt x="148" y="111"/>
                  <a:pt x="148" y="111"/>
                </a:cubicBezTo>
                <a:cubicBezTo>
                  <a:pt x="146" y="111"/>
                  <a:pt x="143" y="111"/>
                  <a:pt x="140" y="110"/>
                </a:cubicBezTo>
                <a:cubicBezTo>
                  <a:pt x="139" y="110"/>
                  <a:pt x="139" y="111"/>
                  <a:pt x="139" y="111"/>
                </a:cubicBezTo>
                <a:cubicBezTo>
                  <a:pt x="138" y="111"/>
                  <a:pt x="139" y="112"/>
                  <a:pt x="138" y="112"/>
                </a:cubicBezTo>
                <a:cubicBezTo>
                  <a:pt x="137" y="112"/>
                  <a:pt x="138" y="112"/>
                  <a:pt x="137" y="113"/>
                </a:cubicBezTo>
                <a:cubicBezTo>
                  <a:pt x="137" y="113"/>
                  <a:pt x="136" y="113"/>
                  <a:pt x="136" y="113"/>
                </a:cubicBezTo>
                <a:cubicBezTo>
                  <a:pt x="135" y="113"/>
                  <a:pt x="135" y="114"/>
                  <a:pt x="134" y="114"/>
                </a:cubicBezTo>
                <a:cubicBezTo>
                  <a:pt x="134" y="115"/>
                  <a:pt x="134" y="117"/>
                  <a:pt x="135" y="117"/>
                </a:cubicBezTo>
                <a:cubicBezTo>
                  <a:pt x="134" y="118"/>
                  <a:pt x="134" y="118"/>
                  <a:pt x="133" y="119"/>
                </a:cubicBezTo>
                <a:cubicBezTo>
                  <a:pt x="133" y="120"/>
                  <a:pt x="133" y="121"/>
                  <a:pt x="133" y="122"/>
                </a:cubicBezTo>
                <a:cubicBezTo>
                  <a:pt x="133" y="123"/>
                  <a:pt x="134" y="123"/>
                  <a:pt x="134" y="124"/>
                </a:cubicBezTo>
                <a:cubicBezTo>
                  <a:pt x="134" y="125"/>
                  <a:pt x="134" y="126"/>
                  <a:pt x="133" y="127"/>
                </a:cubicBezTo>
                <a:cubicBezTo>
                  <a:pt x="133" y="128"/>
                  <a:pt x="134" y="127"/>
                  <a:pt x="135" y="128"/>
                </a:cubicBezTo>
                <a:cubicBezTo>
                  <a:pt x="135" y="128"/>
                  <a:pt x="134" y="128"/>
                  <a:pt x="134" y="129"/>
                </a:cubicBezTo>
                <a:cubicBezTo>
                  <a:pt x="134" y="128"/>
                  <a:pt x="135" y="129"/>
                  <a:pt x="135" y="129"/>
                </a:cubicBezTo>
                <a:cubicBezTo>
                  <a:pt x="135" y="130"/>
                  <a:pt x="135" y="129"/>
                  <a:pt x="136" y="129"/>
                </a:cubicBezTo>
                <a:cubicBezTo>
                  <a:pt x="136" y="130"/>
                  <a:pt x="135" y="130"/>
                  <a:pt x="136" y="130"/>
                </a:cubicBezTo>
                <a:cubicBezTo>
                  <a:pt x="136" y="130"/>
                  <a:pt x="136" y="130"/>
                  <a:pt x="136" y="130"/>
                </a:cubicBezTo>
                <a:cubicBezTo>
                  <a:pt x="136" y="131"/>
                  <a:pt x="136" y="131"/>
                  <a:pt x="136" y="131"/>
                </a:cubicBezTo>
                <a:cubicBezTo>
                  <a:pt x="136" y="132"/>
                  <a:pt x="137" y="132"/>
                  <a:pt x="137" y="133"/>
                </a:cubicBezTo>
                <a:cubicBezTo>
                  <a:pt x="141" y="134"/>
                  <a:pt x="143" y="133"/>
                  <a:pt x="145" y="133"/>
                </a:cubicBezTo>
                <a:cubicBezTo>
                  <a:pt x="145" y="133"/>
                  <a:pt x="146" y="133"/>
                  <a:pt x="146" y="132"/>
                </a:cubicBezTo>
                <a:cubicBezTo>
                  <a:pt x="146" y="132"/>
                  <a:pt x="147" y="131"/>
                  <a:pt x="147" y="130"/>
                </a:cubicBezTo>
                <a:cubicBezTo>
                  <a:pt x="147" y="129"/>
                  <a:pt x="148" y="129"/>
                  <a:pt x="147" y="129"/>
                </a:cubicBezTo>
                <a:cubicBezTo>
                  <a:pt x="149" y="127"/>
                  <a:pt x="152" y="126"/>
                  <a:pt x="154" y="128"/>
                </a:cubicBezTo>
                <a:cubicBezTo>
                  <a:pt x="153" y="129"/>
                  <a:pt x="153" y="131"/>
                  <a:pt x="152" y="132"/>
                </a:cubicBezTo>
                <a:cubicBezTo>
                  <a:pt x="152" y="133"/>
                  <a:pt x="153" y="133"/>
                  <a:pt x="152" y="134"/>
                </a:cubicBezTo>
                <a:cubicBezTo>
                  <a:pt x="151" y="134"/>
                  <a:pt x="151" y="135"/>
                  <a:pt x="151" y="136"/>
                </a:cubicBezTo>
                <a:cubicBezTo>
                  <a:pt x="150" y="137"/>
                  <a:pt x="150" y="137"/>
                  <a:pt x="150" y="137"/>
                </a:cubicBezTo>
                <a:cubicBezTo>
                  <a:pt x="150" y="138"/>
                  <a:pt x="152" y="137"/>
                  <a:pt x="151" y="138"/>
                </a:cubicBezTo>
                <a:cubicBezTo>
                  <a:pt x="153" y="138"/>
                  <a:pt x="153" y="138"/>
                  <a:pt x="154" y="138"/>
                </a:cubicBezTo>
                <a:cubicBezTo>
                  <a:pt x="154" y="139"/>
                  <a:pt x="155" y="139"/>
                  <a:pt x="155" y="139"/>
                </a:cubicBezTo>
                <a:cubicBezTo>
                  <a:pt x="158" y="138"/>
                  <a:pt x="158" y="140"/>
                  <a:pt x="161" y="140"/>
                </a:cubicBezTo>
                <a:cubicBezTo>
                  <a:pt x="160" y="141"/>
                  <a:pt x="161" y="142"/>
                  <a:pt x="160" y="143"/>
                </a:cubicBezTo>
                <a:cubicBezTo>
                  <a:pt x="161" y="144"/>
                  <a:pt x="160" y="147"/>
                  <a:pt x="160" y="148"/>
                </a:cubicBezTo>
                <a:cubicBezTo>
                  <a:pt x="160" y="149"/>
                  <a:pt x="161" y="149"/>
                  <a:pt x="162" y="149"/>
                </a:cubicBezTo>
                <a:cubicBezTo>
                  <a:pt x="161" y="150"/>
                  <a:pt x="163" y="150"/>
                  <a:pt x="163" y="150"/>
                </a:cubicBezTo>
                <a:cubicBezTo>
                  <a:pt x="163" y="151"/>
                  <a:pt x="164" y="151"/>
                  <a:pt x="164" y="151"/>
                </a:cubicBezTo>
                <a:cubicBezTo>
                  <a:pt x="166" y="150"/>
                  <a:pt x="168" y="152"/>
                  <a:pt x="170" y="151"/>
                </a:cubicBezTo>
                <a:cubicBezTo>
                  <a:pt x="170" y="151"/>
                  <a:pt x="170" y="152"/>
                  <a:pt x="170" y="152"/>
                </a:cubicBezTo>
                <a:cubicBezTo>
                  <a:pt x="170" y="152"/>
                  <a:pt x="172" y="151"/>
                  <a:pt x="172" y="152"/>
                </a:cubicBezTo>
                <a:cubicBezTo>
                  <a:pt x="172" y="152"/>
                  <a:pt x="173" y="152"/>
                  <a:pt x="173" y="152"/>
                </a:cubicBezTo>
                <a:cubicBezTo>
                  <a:pt x="174" y="152"/>
                  <a:pt x="174" y="151"/>
                  <a:pt x="174" y="151"/>
                </a:cubicBezTo>
                <a:cubicBezTo>
                  <a:pt x="175" y="151"/>
                  <a:pt x="175" y="151"/>
                  <a:pt x="175" y="150"/>
                </a:cubicBezTo>
                <a:cubicBezTo>
                  <a:pt x="175" y="150"/>
                  <a:pt x="175" y="151"/>
                  <a:pt x="176" y="150"/>
                </a:cubicBezTo>
                <a:cubicBezTo>
                  <a:pt x="176" y="150"/>
                  <a:pt x="176" y="149"/>
                  <a:pt x="176" y="149"/>
                </a:cubicBezTo>
                <a:cubicBezTo>
                  <a:pt x="176" y="149"/>
                  <a:pt x="176" y="150"/>
                  <a:pt x="176" y="150"/>
                </a:cubicBezTo>
                <a:cubicBezTo>
                  <a:pt x="177" y="149"/>
                  <a:pt x="177" y="149"/>
                  <a:pt x="177" y="149"/>
                </a:cubicBezTo>
                <a:cubicBezTo>
                  <a:pt x="178" y="148"/>
                  <a:pt x="178" y="148"/>
                  <a:pt x="179" y="147"/>
                </a:cubicBezTo>
                <a:cubicBezTo>
                  <a:pt x="179" y="147"/>
                  <a:pt x="180" y="147"/>
                  <a:pt x="179" y="146"/>
                </a:cubicBezTo>
                <a:cubicBezTo>
                  <a:pt x="180" y="147"/>
                  <a:pt x="185" y="147"/>
                  <a:pt x="182" y="148"/>
                </a:cubicBezTo>
                <a:cubicBezTo>
                  <a:pt x="182" y="148"/>
                  <a:pt x="183" y="148"/>
                  <a:pt x="184" y="148"/>
                </a:cubicBezTo>
                <a:cubicBezTo>
                  <a:pt x="185" y="148"/>
                  <a:pt x="184" y="148"/>
                  <a:pt x="185" y="147"/>
                </a:cubicBezTo>
                <a:cubicBezTo>
                  <a:pt x="186" y="147"/>
                  <a:pt x="187" y="147"/>
                  <a:pt x="188" y="147"/>
                </a:cubicBezTo>
                <a:cubicBezTo>
                  <a:pt x="188" y="149"/>
                  <a:pt x="190" y="148"/>
                  <a:pt x="192" y="149"/>
                </a:cubicBezTo>
                <a:cubicBezTo>
                  <a:pt x="192" y="149"/>
                  <a:pt x="192" y="149"/>
                  <a:pt x="192" y="149"/>
                </a:cubicBezTo>
                <a:cubicBezTo>
                  <a:pt x="192" y="149"/>
                  <a:pt x="193" y="149"/>
                  <a:pt x="193" y="150"/>
                </a:cubicBezTo>
                <a:cubicBezTo>
                  <a:pt x="194" y="150"/>
                  <a:pt x="194" y="149"/>
                  <a:pt x="195" y="149"/>
                </a:cubicBezTo>
                <a:cubicBezTo>
                  <a:pt x="197" y="149"/>
                  <a:pt x="200" y="149"/>
                  <a:pt x="202" y="150"/>
                </a:cubicBezTo>
                <a:cubicBezTo>
                  <a:pt x="202" y="150"/>
                  <a:pt x="202" y="151"/>
                  <a:pt x="202" y="150"/>
                </a:cubicBezTo>
                <a:cubicBezTo>
                  <a:pt x="203" y="151"/>
                  <a:pt x="203" y="151"/>
                  <a:pt x="202" y="151"/>
                </a:cubicBezTo>
                <a:cubicBezTo>
                  <a:pt x="202" y="152"/>
                  <a:pt x="204" y="151"/>
                  <a:pt x="204" y="152"/>
                </a:cubicBezTo>
                <a:cubicBezTo>
                  <a:pt x="204" y="152"/>
                  <a:pt x="204" y="153"/>
                  <a:pt x="204" y="153"/>
                </a:cubicBezTo>
                <a:cubicBezTo>
                  <a:pt x="205" y="153"/>
                  <a:pt x="205" y="153"/>
                  <a:pt x="206" y="153"/>
                </a:cubicBezTo>
                <a:cubicBezTo>
                  <a:pt x="206" y="154"/>
                  <a:pt x="206" y="154"/>
                  <a:pt x="207" y="155"/>
                </a:cubicBezTo>
                <a:cubicBezTo>
                  <a:pt x="208" y="155"/>
                  <a:pt x="208" y="156"/>
                  <a:pt x="209" y="157"/>
                </a:cubicBezTo>
                <a:cubicBezTo>
                  <a:pt x="212" y="157"/>
                  <a:pt x="213" y="158"/>
                  <a:pt x="215" y="157"/>
                </a:cubicBezTo>
                <a:cubicBezTo>
                  <a:pt x="215" y="159"/>
                  <a:pt x="218" y="157"/>
                  <a:pt x="217" y="159"/>
                </a:cubicBezTo>
                <a:cubicBezTo>
                  <a:pt x="219" y="159"/>
                  <a:pt x="219" y="161"/>
                  <a:pt x="220" y="161"/>
                </a:cubicBezTo>
                <a:cubicBezTo>
                  <a:pt x="221" y="161"/>
                  <a:pt x="221" y="162"/>
                  <a:pt x="221" y="162"/>
                </a:cubicBezTo>
                <a:cubicBezTo>
                  <a:pt x="220" y="163"/>
                  <a:pt x="222" y="163"/>
                  <a:pt x="222" y="164"/>
                </a:cubicBezTo>
                <a:cubicBezTo>
                  <a:pt x="222" y="165"/>
                  <a:pt x="223" y="165"/>
                  <a:pt x="223" y="165"/>
                </a:cubicBezTo>
                <a:cubicBezTo>
                  <a:pt x="224" y="165"/>
                  <a:pt x="223" y="166"/>
                  <a:pt x="224" y="166"/>
                </a:cubicBezTo>
                <a:cubicBezTo>
                  <a:pt x="222" y="168"/>
                  <a:pt x="227" y="168"/>
                  <a:pt x="225" y="170"/>
                </a:cubicBezTo>
                <a:cubicBezTo>
                  <a:pt x="226" y="169"/>
                  <a:pt x="227" y="170"/>
                  <a:pt x="227" y="171"/>
                </a:cubicBezTo>
                <a:cubicBezTo>
                  <a:pt x="229" y="170"/>
                  <a:pt x="232" y="171"/>
                  <a:pt x="233" y="173"/>
                </a:cubicBezTo>
                <a:cubicBezTo>
                  <a:pt x="235" y="173"/>
                  <a:pt x="237" y="174"/>
                  <a:pt x="239" y="173"/>
                </a:cubicBezTo>
                <a:cubicBezTo>
                  <a:pt x="239" y="174"/>
                  <a:pt x="238" y="174"/>
                  <a:pt x="238" y="174"/>
                </a:cubicBezTo>
                <a:cubicBezTo>
                  <a:pt x="239" y="175"/>
                  <a:pt x="242" y="174"/>
                  <a:pt x="243" y="174"/>
                </a:cubicBezTo>
                <a:cubicBezTo>
                  <a:pt x="243" y="175"/>
                  <a:pt x="244" y="175"/>
                  <a:pt x="244" y="175"/>
                </a:cubicBezTo>
                <a:cubicBezTo>
                  <a:pt x="244" y="176"/>
                  <a:pt x="245" y="175"/>
                  <a:pt x="246" y="176"/>
                </a:cubicBezTo>
                <a:cubicBezTo>
                  <a:pt x="246" y="176"/>
                  <a:pt x="246" y="176"/>
                  <a:pt x="246" y="177"/>
                </a:cubicBezTo>
                <a:cubicBezTo>
                  <a:pt x="246" y="177"/>
                  <a:pt x="246" y="176"/>
                  <a:pt x="247" y="177"/>
                </a:cubicBezTo>
                <a:cubicBezTo>
                  <a:pt x="247" y="177"/>
                  <a:pt x="247" y="178"/>
                  <a:pt x="248" y="178"/>
                </a:cubicBezTo>
                <a:cubicBezTo>
                  <a:pt x="248" y="182"/>
                  <a:pt x="248" y="187"/>
                  <a:pt x="248" y="192"/>
                </a:cubicBezTo>
                <a:cubicBezTo>
                  <a:pt x="246" y="191"/>
                  <a:pt x="248" y="195"/>
                  <a:pt x="246" y="194"/>
                </a:cubicBezTo>
                <a:cubicBezTo>
                  <a:pt x="246" y="195"/>
                  <a:pt x="245" y="197"/>
                  <a:pt x="245" y="199"/>
                </a:cubicBezTo>
                <a:cubicBezTo>
                  <a:pt x="245" y="199"/>
                  <a:pt x="246" y="201"/>
                  <a:pt x="246" y="203"/>
                </a:cubicBezTo>
                <a:cubicBezTo>
                  <a:pt x="246" y="203"/>
                  <a:pt x="245" y="203"/>
                  <a:pt x="245" y="204"/>
                </a:cubicBezTo>
                <a:cubicBezTo>
                  <a:pt x="245" y="204"/>
                  <a:pt x="245" y="204"/>
                  <a:pt x="245" y="205"/>
                </a:cubicBezTo>
                <a:cubicBezTo>
                  <a:pt x="245" y="205"/>
                  <a:pt x="244" y="205"/>
                  <a:pt x="244" y="207"/>
                </a:cubicBezTo>
                <a:cubicBezTo>
                  <a:pt x="243" y="207"/>
                  <a:pt x="243" y="208"/>
                  <a:pt x="242" y="208"/>
                </a:cubicBezTo>
                <a:cubicBezTo>
                  <a:pt x="242" y="209"/>
                  <a:pt x="242" y="209"/>
                  <a:pt x="242" y="210"/>
                </a:cubicBezTo>
                <a:cubicBezTo>
                  <a:pt x="242" y="210"/>
                  <a:pt x="241" y="210"/>
                  <a:pt x="241" y="210"/>
                </a:cubicBezTo>
                <a:cubicBezTo>
                  <a:pt x="241" y="210"/>
                  <a:pt x="241" y="211"/>
                  <a:pt x="241" y="211"/>
                </a:cubicBezTo>
                <a:cubicBezTo>
                  <a:pt x="241" y="211"/>
                  <a:pt x="239" y="211"/>
                  <a:pt x="239" y="212"/>
                </a:cubicBezTo>
                <a:cubicBezTo>
                  <a:pt x="239" y="212"/>
                  <a:pt x="238" y="212"/>
                  <a:pt x="237" y="213"/>
                </a:cubicBezTo>
                <a:cubicBezTo>
                  <a:pt x="237" y="213"/>
                  <a:pt x="237" y="213"/>
                  <a:pt x="236" y="213"/>
                </a:cubicBezTo>
                <a:cubicBezTo>
                  <a:pt x="236" y="214"/>
                  <a:pt x="236" y="213"/>
                  <a:pt x="235" y="213"/>
                </a:cubicBezTo>
                <a:cubicBezTo>
                  <a:pt x="235" y="213"/>
                  <a:pt x="235" y="213"/>
                  <a:pt x="235" y="213"/>
                </a:cubicBezTo>
                <a:cubicBezTo>
                  <a:pt x="234" y="214"/>
                  <a:pt x="234" y="214"/>
                  <a:pt x="234" y="214"/>
                </a:cubicBezTo>
                <a:cubicBezTo>
                  <a:pt x="232" y="214"/>
                  <a:pt x="231" y="216"/>
                  <a:pt x="230" y="216"/>
                </a:cubicBezTo>
                <a:cubicBezTo>
                  <a:pt x="230" y="216"/>
                  <a:pt x="230" y="216"/>
                  <a:pt x="229" y="216"/>
                </a:cubicBezTo>
                <a:cubicBezTo>
                  <a:pt x="229" y="217"/>
                  <a:pt x="229" y="217"/>
                  <a:pt x="228" y="217"/>
                </a:cubicBezTo>
                <a:cubicBezTo>
                  <a:pt x="228" y="217"/>
                  <a:pt x="228" y="218"/>
                  <a:pt x="227" y="218"/>
                </a:cubicBezTo>
                <a:cubicBezTo>
                  <a:pt x="227" y="218"/>
                  <a:pt x="228" y="219"/>
                  <a:pt x="227" y="219"/>
                </a:cubicBezTo>
                <a:cubicBezTo>
                  <a:pt x="227" y="221"/>
                  <a:pt x="226" y="222"/>
                  <a:pt x="227" y="224"/>
                </a:cubicBezTo>
                <a:cubicBezTo>
                  <a:pt x="225" y="224"/>
                  <a:pt x="226" y="225"/>
                  <a:pt x="226" y="226"/>
                </a:cubicBezTo>
                <a:cubicBezTo>
                  <a:pt x="226" y="226"/>
                  <a:pt x="225" y="225"/>
                  <a:pt x="225" y="226"/>
                </a:cubicBezTo>
                <a:cubicBezTo>
                  <a:pt x="225" y="226"/>
                  <a:pt x="226" y="227"/>
                  <a:pt x="225" y="227"/>
                </a:cubicBezTo>
                <a:cubicBezTo>
                  <a:pt x="224" y="227"/>
                  <a:pt x="224" y="228"/>
                  <a:pt x="223" y="228"/>
                </a:cubicBezTo>
                <a:cubicBezTo>
                  <a:pt x="223" y="228"/>
                  <a:pt x="222" y="229"/>
                  <a:pt x="222" y="229"/>
                </a:cubicBezTo>
                <a:cubicBezTo>
                  <a:pt x="221" y="230"/>
                  <a:pt x="221" y="231"/>
                  <a:pt x="220" y="232"/>
                </a:cubicBezTo>
                <a:cubicBezTo>
                  <a:pt x="220" y="233"/>
                  <a:pt x="220" y="233"/>
                  <a:pt x="220" y="234"/>
                </a:cubicBezTo>
                <a:cubicBezTo>
                  <a:pt x="219" y="234"/>
                  <a:pt x="218" y="235"/>
                  <a:pt x="218" y="236"/>
                </a:cubicBezTo>
                <a:cubicBezTo>
                  <a:pt x="217" y="236"/>
                  <a:pt x="217" y="236"/>
                  <a:pt x="216" y="236"/>
                </a:cubicBezTo>
                <a:cubicBezTo>
                  <a:pt x="216" y="236"/>
                  <a:pt x="216" y="236"/>
                  <a:pt x="217" y="236"/>
                </a:cubicBezTo>
                <a:cubicBezTo>
                  <a:pt x="217" y="237"/>
                  <a:pt x="216" y="237"/>
                  <a:pt x="215" y="237"/>
                </a:cubicBezTo>
                <a:cubicBezTo>
                  <a:pt x="215" y="237"/>
                  <a:pt x="214" y="238"/>
                  <a:pt x="214" y="239"/>
                </a:cubicBezTo>
                <a:cubicBezTo>
                  <a:pt x="214" y="238"/>
                  <a:pt x="213" y="238"/>
                  <a:pt x="213" y="239"/>
                </a:cubicBezTo>
                <a:cubicBezTo>
                  <a:pt x="213" y="239"/>
                  <a:pt x="213" y="239"/>
                  <a:pt x="213" y="238"/>
                </a:cubicBezTo>
                <a:cubicBezTo>
                  <a:pt x="212" y="238"/>
                  <a:pt x="212" y="238"/>
                  <a:pt x="212" y="238"/>
                </a:cubicBezTo>
                <a:cubicBezTo>
                  <a:pt x="211" y="238"/>
                  <a:pt x="211" y="239"/>
                  <a:pt x="210" y="239"/>
                </a:cubicBezTo>
                <a:cubicBezTo>
                  <a:pt x="210" y="240"/>
                  <a:pt x="211" y="240"/>
                  <a:pt x="211" y="241"/>
                </a:cubicBezTo>
                <a:cubicBezTo>
                  <a:pt x="211" y="242"/>
                  <a:pt x="210" y="243"/>
                  <a:pt x="211" y="244"/>
                </a:cubicBezTo>
                <a:cubicBezTo>
                  <a:pt x="210" y="245"/>
                  <a:pt x="208" y="244"/>
                  <a:pt x="208" y="245"/>
                </a:cubicBezTo>
                <a:cubicBezTo>
                  <a:pt x="207" y="245"/>
                  <a:pt x="208" y="245"/>
                  <a:pt x="207" y="246"/>
                </a:cubicBezTo>
                <a:cubicBezTo>
                  <a:pt x="207" y="246"/>
                  <a:pt x="205" y="246"/>
                  <a:pt x="206" y="247"/>
                </a:cubicBezTo>
                <a:cubicBezTo>
                  <a:pt x="205" y="246"/>
                  <a:pt x="201" y="246"/>
                  <a:pt x="201" y="248"/>
                </a:cubicBezTo>
                <a:cubicBezTo>
                  <a:pt x="201" y="248"/>
                  <a:pt x="201" y="248"/>
                  <a:pt x="201" y="248"/>
                </a:cubicBezTo>
                <a:cubicBezTo>
                  <a:pt x="202" y="248"/>
                  <a:pt x="201" y="249"/>
                  <a:pt x="200" y="248"/>
                </a:cubicBezTo>
                <a:cubicBezTo>
                  <a:pt x="201" y="250"/>
                  <a:pt x="199" y="251"/>
                  <a:pt x="200" y="251"/>
                </a:cubicBezTo>
                <a:cubicBezTo>
                  <a:pt x="200" y="252"/>
                  <a:pt x="199" y="252"/>
                  <a:pt x="199" y="252"/>
                </a:cubicBezTo>
                <a:cubicBezTo>
                  <a:pt x="199" y="252"/>
                  <a:pt x="198" y="251"/>
                  <a:pt x="199" y="251"/>
                </a:cubicBezTo>
                <a:cubicBezTo>
                  <a:pt x="198" y="251"/>
                  <a:pt x="197" y="253"/>
                  <a:pt x="197" y="251"/>
                </a:cubicBezTo>
                <a:cubicBezTo>
                  <a:pt x="197" y="251"/>
                  <a:pt x="196" y="252"/>
                  <a:pt x="196" y="251"/>
                </a:cubicBezTo>
                <a:cubicBezTo>
                  <a:pt x="196" y="252"/>
                  <a:pt x="197" y="254"/>
                  <a:pt x="197" y="255"/>
                </a:cubicBezTo>
                <a:cubicBezTo>
                  <a:pt x="197" y="256"/>
                  <a:pt x="196" y="256"/>
                  <a:pt x="196" y="257"/>
                </a:cubicBezTo>
                <a:cubicBezTo>
                  <a:pt x="196" y="257"/>
                  <a:pt x="196" y="258"/>
                  <a:pt x="194" y="258"/>
                </a:cubicBezTo>
                <a:cubicBezTo>
                  <a:pt x="194" y="259"/>
                  <a:pt x="195" y="259"/>
                  <a:pt x="195" y="259"/>
                </a:cubicBezTo>
                <a:cubicBezTo>
                  <a:pt x="195" y="260"/>
                  <a:pt x="195" y="259"/>
                  <a:pt x="194" y="259"/>
                </a:cubicBezTo>
                <a:cubicBezTo>
                  <a:pt x="194" y="259"/>
                  <a:pt x="194" y="261"/>
                  <a:pt x="194" y="261"/>
                </a:cubicBezTo>
                <a:cubicBezTo>
                  <a:pt x="194" y="261"/>
                  <a:pt x="194" y="261"/>
                  <a:pt x="193" y="261"/>
                </a:cubicBezTo>
                <a:cubicBezTo>
                  <a:pt x="194" y="261"/>
                  <a:pt x="193" y="261"/>
                  <a:pt x="193" y="261"/>
                </a:cubicBezTo>
                <a:cubicBezTo>
                  <a:pt x="192" y="260"/>
                  <a:pt x="193" y="261"/>
                  <a:pt x="192" y="262"/>
                </a:cubicBezTo>
                <a:cubicBezTo>
                  <a:pt x="192" y="263"/>
                  <a:pt x="192" y="262"/>
                  <a:pt x="191" y="262"/>
                </a:cubicBezTo>
                <a:cubicBezTo>
                  <a:pt x="190" y="264"/>
                  <a:pt x="193" y="264"/>
                  <a:pt x="191" y="264"/>
                </a:cubicBezTo>
                <a:cubicBezTo>
                  <a:pt x="191" y="265"/>
                  <a:pt x="192" y="265"/>
                  <a:pt x="192" y="265"/>
                </a:cubicBezTo>
                <a:cubicBezTo>
                  <a:pt x="192" y="266"/>
                  <a:pt x="193" y="266"/>
                  <a:pt x="193" y="266"/>
                </a:cubicBezTo>
                <a:cubicBezTo>
                  <a:pt x="194" y="267"/>
                  <a:pt x="193" y="268"/>
                  <a:pt x="192" y="268"/>
                </a:cubicBezTo>
                <a:cubicBezTo>
                  <a:pt x="192" y="268"/>
                  <a:pt x="193" y="269"/>
                  <a:pt x="193" y="269"/>
                </a:cubicBezTo>
                <a:cubicBezTo>
                  <a:pt x="192" y="269"/>
                  <a:pt x="193" y="269"/>
                  <a:pt x="192" y="269"/>
                </a:cubicBezTo>
                <a:cubicBezTo>
                  <a:pt x="192" y="269"/>
                  <a:pt x="192" y="270"/>
                  <a:pt x="191" y="269"/>
                </a:cubicBezTo>
                <a:cubicBezTo>
                  <a:pt x="191" y="270"/>
                  <a:pt x="191" y="271"/>
                  <a:pt x="190" y="270"/>
                </a:cubicBezTo>
                <a:cubicBezTo>
                  <a:pt x="190" y="272"/>
                  <a:pt x="189" y="272"/>
                  <a:pt x="189" y="273"/>
                </a:cubicBezTo>
                <a:cubicBezTo>
                  <a:pt x="187" y="273"/>
                  <a:pt x="190" y="275"/>
                  <a:pt x="188" y="274"/>
                </a:cubicBezTo>
                <a:cubicBezTo>
                  <a:pt x="188" y="275"/>
                  <a:pt x="188" y="276"/>
                  <a:pt x="188" y="277"/>
                </a:cubicBezTo>
                <a:cubicBezTo>
                  <a:pt x="188" y="277"/>
                  <a:pt x="188" y="278"/>
                  <a:pt x="188" y="277"/>
                </a:cubicBezTo>
                <a:cubicBezTo>
                  <a:pt x="188" y="278"/>
                  <a:pt x="187" y="278"/>
                  <a:pt x="188" y="279"/>
                </a:cubicBezTo>
                <a:cubicBezTo>
                  <a:pt x="189" y="280"/>
                  <a:pt x="188" y="280"/>
                  <a:pt x="189" y="282"/>
                </a:cubicBezTo>
                <a:cubicBezTo>
                  <a:pt x="189" y="283"/>
                  <a:pt x="190" y="283"/>
                  <a:pt x="191" y="284"/>
                </a:cubicBezTo>
                <a:cubicBezTo>
                  <a:pt x="192" y="285"/>
                  <a:pt x="193" y="283"/>
                  <a:pt x="193" y="284"/>
                </a:cubicBezTo>
                <a:cubicBezTo>
                  <a:pt x="194" y="286"/>
                  <a:pt x="192" y="285"/>
                  <a:pt x="191" y="285"/>
                </a:cubicBezTo>
                <a:cubicBezTo>
                  <a:pt x="189" y="286"/>
                  <a:pt x="187" y="287"/>
                  <a:pt x="185" y="286"/>
                </a:cubicBezTo>
                <a:cubicBezTo>
                  <a:pt x="185" y="286"/>
                  <a:pt x="186" y="285"/>
                  <a:pt x="185" y="285"/>
                </a:cubicBezTo>
                <a:cubicBezTo>
                  <a:pt x="183" y="286"/>
                  <a:pt x="183" y="285"/>
                  <a:pt x="181" y="284"/>
                </a:cubicBezTo>
                <a:cubicBezTo>
                  <a:pt x="181" y="284"/>
                  <a:pt x="181" y="283"/>
                  <a:pt x="181" y="283"/>
                </a:cubicBezTo>
                <a:cubicBezTo>
                  <a:pt x="181" y="282"/>
                  <a:pt x="179" y="283"/>
                  <a:pt x="179" y="282"/>
                </a:cubicBezTo>
                <a:cubicBezTo>
                  <a:pt x="179" y="281"/>
                  <a:pt x="179" y="281"/>
                  <a:pt x="179" y="281"/>
                </a:cubicBezTo>
                <a:cubicBezTo>
                  <a:pt x="179" y="280"/>
                  <a:pt x="178" y="280"/>
                  <a:pt x="178" y="280"/>
                </a:cubicBezTo>
                <a:cubicBezTo>
                  <a:pt x="178" y="280"/>
                  <a:pt x="179" y="279"/>
                  <a:pt x="178" y="279"/>
                </a:cubicBezTo>
                <a:cubicBezTo>
                  <a:pt x="178" y="279"/>
                  <a:pt x="179" y="278"/>
                  <a:pt x="178" y="278"/>
                </a:cubicBezTo>
                <a:cubicBezTo>
                  <a:pt x="178" y="277"/>
                  <a:pt x="178" y="277"/>
                  <a:pt x="178" y="277"/>
                </a:cubicBezTo>
                <a:cubicBezTo>
                  <a:pt x="177" y="277"/>
                  <a:pt x="178" y="276"/>
                  <a:pt x="178" y="276"/>
                </a:cubicBezTo>
                <a:cubicBezTo>
                  <a:pt x="178" y="276"/>
                  <a:pt x="178" y="276"/>
                  <a:pt x="178" y="276"/>
                </a:cubicBezTo>
                <a:cubicBezTo>
                  <a:pt x="177" y="275"/>
                  <a:pt x="177" y="274"/>
                  <a:pt x="177" y="274"/>
                </a:cubicBezTo>
                <a:cubicBezTo>
                  <a:pt x="176" y="273"/>
                  <a:pt x="177" y="273"/>
                  <a:pt x="177" y="273"/>
                </a:cubicBezTo>
                <a:cubicBezTo>
                  <a:pt x="177" y="273"/>
                  <a:pt x="176" y="272"/>
                  <a:pt x="176" y="272"/>
                </a:cubicBezTo>
                <a:cubicBezTo>
                  <a:pt x="176" y="272"/>
                  <a:pt x="178" y="271"/>
                  <a:pt x="177" y="271"/>
                </a:cubicBezTo>
                <a:cubicBezTo>
                  <a:pt x="177" y="270"/>
                  <a:pt x="177" y="271"/>
                  <a:pt x="178" y="270"/>
                </a:cubicBezTo>
                <a:cubicBezTo>
                  <a:pt x="178" y="269"/>
                  <a:pt x="178" y="268"/>
                  <a:pt x="178" y="267"/>
                </a:cubicBezTo>
                <a:cubicBezTo>
                  <a:pt x="177" y="267"/>
                  <a:pt x="177" y="266"/>
                  <a:pt x="176" y="266"/>
                </a:cubicBezTo>
                <a:cubicBezTo>
                  <a:pt x="177" y="265"/>
                  <a:pt x="178" y="264"/>
                  <a:pt x="177" y="262"/>
                </a:cubicBezTo>
                <a:cubicBezTo>
                  <a:pt x="178" y="262"/>
                  <a:pt x="178" y="261"/>
                  <a:pt x="179" y="262"/>
                </a:cubicBezTo>
                <a:cubicBezTo>
                  <a:pt x="179" y="260"/>
                  <a:pt x="179" y="259"/>
                  <a:pt x="179" y="257"/>
                </a:cubicBezTo>
                <a:cubicBezTo>
                  <a:pt x="182" y="257"/>
                  <a:pt x="181" y="254"/>
                  <a:pt x="182" y="253"/>
                </a:cubicBezTo>
                <a:cubicBezTo>
                  <a:pt x="181" y="253"/>
                  <a:pt x="181" y="254"/>
                  <a:pt x="181" y="253"/>
                </a:cubicBezTo>
                <a:cubicBezTo>
                  <a:pt x="180" y="254"/>
                  <a:pt x="179" y="255"/>
                  <a:pt x="179" y="256"/>
                </a:cubicBezTo>
                <a:cubicBezTo>
                  <a:pt x="179" y="256"/>
                  <a:pt x="178" y="255"/>
                  <a:pt x="178" y="254"/>
                </a:cubicBezTo>
                <a:cubicBezTo>
                  <a:pt x="177" y="253"/>
                  <a:pt x="179" y="253"/>
                  <a:pt x="179" y="252"/>
                </a:cubicBezTo>
                <a:cubicBezTo>
                  <a:pt x="178" y="251"/>
                  <a:pt x="179" y="253"/>
                  <a:pt x="180" y="252"/>
                </a:cubicBezTo>
                <a:cubicBezTo>
                  <a:pt x="180" y="249"/>
                  <a:pt x="179" y="247"/>
                  <a:pt x="179" y="245"/>
                </a:cubicBezTo>
                <a:cubicBezTo>
                  <a:pt x="179" y="245"/>
                  <a:pt x="180" y="245"/>
                  <a:pt x="180" y="245"/>
                </a:cubicBezTo>
                <a:cubicBezTo>
                  <a:pt x="180" y="243"/>
                  <a:pt x="180" y="243"/>
                  <a:pt x="180" y="240"/>
                </a:cubicBezTo>
                <a:cubicBezTo>
                  <a:pt x="181" y="239"/>
                  <a:pt x="183" y="237"/>
                  <a:pt x="182" y="235"/>
                </a:cubicBezTo>
                <a:cubicBezTo>
                  <a:pt x="184" y="237"/>
                  <a:pt x="182" y="232"/>
                  <a:pt x="184" y="234"/>
                </a:cubicBezTo>
                <a:cubicBezTo>
                  <a:pt x="184" y="233"/>
                  <a:pt x="184" y="232"/>
                  <a:pt x="184" y="231"/>
                </a:cubicBezTo>
                <a:cubicBezTo>
                  <a:pt x="183" y="230"/>
                  <a:pt x="183" y="229"/>
                  <a:pt x="183" y="229"/>
                </a:cubicBezTo>
                <a:cubicBezTo>
                  <a:pt x="183" y="228"/>
                  <a:pt x="183" y="228"/>
                  <a:pt x="183" y="227"/>
                </a:cubicBezTo>
                <a:cubicBezTo>
                  <a:pt x="183" y="227"/>
                  <a:pt x="183" y="225"/>
                  <a:pt x="184" y="226"/>
                </a:cubicBezTo>
                <a:cubicBezTo>
                  <a:pt x="184" y="225"/>
                  <a:pt x="184" y="224"/>
                  <a:pt x="185" y="222"/>
                </a:cubicBezTo>
                <a:cubicBezTo>
                  <a:pt x="185" y="221"/>
                  <a:pt x="185" y="222"/>
                  <a:pt x="185" y="221"/>
                </a:cubicBezTo>
                <a:cubicBezTo>
                  <a:pt x="185" y="221"/>
                  <a:pt x="186" y="219"/>
                  <a:pt x="185" y="219"/>
                </a:cubicBezTo>
                <a:cubicBezTo>
                  <a:pt x="185" y="218"/>
                  <a:pt x="185" y="218"/>
                  <a:pt x="185" y="217"/>
                </a:cubicBezTo>
                <a:cubicBezTo>
                  <a:pt x="185" y="217"/>
                  <a:pt x="185" y="216"/>
                  <a:pt x="185" y="215"/>
                </a:cubicBezTo>
                <a:cubicBezTo>
                  <a:pt x="185" y="215"/>
                  <a:pt x="185" y="215"/>
                  <a:pt x="185" y="214"/>
                </a:cubicBezTo>
                <a:cubicBezTo>
                  <a:pt x="186" y="212"/>
                  <a:pt x="185" y="211"/>
                  <a:pt x="185" y="209"/>
                </a:cubicBezTo>
                <a:cubicBezTo>
                  <a:pt x="186" y="208"/>
                  <a:pt x="186" y="208"/>
                  <a:pt x="186" y="207"/>
                </a:cubicBezTo>
                <a:cubicBezTo>
                  <a:pt x="186" y="206"/>
                  <a:pt x="184" y="205"/>
                  <a:pt x="185" y="203"/>
                </a:cubicBezTo>
                <a:cubicBezTo>
                  <a:pt x="184" y="203"/>
                  <a:pt x="184" y="203"/>
                  <a:pt x="183" y="203"/>
                </a:cubicBezTo>
                <a:cubicBezTo>
                  <a:pt x="183" y="202"/>
                  <a:pt x="181" y="201"/>
                  <a:pt x="180" y="201"/>
                </a:cubicBezTo>
                <a:cubicBezTo>
                  <a:pt x="180" y="201"/>
                  <a:pt x="179" y="200"/>
                  <a:pt x="179" y="200"/>
                </a:cubicBezTo>
                <a:cubicBezTo>
                  <a:pt x="178" y="201"/>
                  <a:pt x="179" y="200"/>
                  <a:pt x="178" y="199"/>
                </a:cubicBezTo>
                <a:cubicBezTo>
                  <a:pt x="178" y="199"/>
                  <a:pt x="176" y="200"/>
                  <a:pt x="178" y="199"/>
                </a:cubicBezTo>
                <a:cubicBezTo>
                  <a:pt x="178" y="198"/>
                  <a:pt x="176" y="198"/>
                  <a:pt x="176" y="198"/>
                </a:cubicBezTo>
                <a:cubicBezTo>
                  <a:pt x="176" y="198"/>
                  <a:pt x="176" y="197"/>
                  <a:pt x="176" y="197"/>
                </a:cubicBezTo>
                <a:cubicBezTo>
                  <a:pt x="175" y="197"/>
                  <a:pt x="175" y="197"/>
                  <a:pt x="175" y="197"/>
                </a:cubicBezTo>
                <a:cubicBezTo>
                  <a:pt x="174" y="196"/>
                  <a:pt x="174" y="195"/>
                  <a:pt x="173" y="193"/>
                </a:cubicBezTo>
                <a:cubicBezTo>
                  <a:pt x="173" y="193"/>
                  <a:pt x="173" y="193"/>
                  <a:pt x="172" y="193"/>
                </a:cubicBezTo>
                <a:cubicBezTo>
                  <a:pt x="172" y="193"/>
                  <a:pt x="172" y="191"/>
                  <a:pt x="171" y="191"/>
                </a:cubicBezTo>
                <a:cubicBezTo>
                  <a:pt x="171" y="191"/>
                  <a:pt x="170" y="188"/>
                  <a:pt x="170" y="187"/>
                </a:cubicBezTo>
                <a:cubicBezTo>
                  <a:pt x="169" y="186"/>
                  <a:pt x="168" y="185"/>
                  <a:pt x="168" y="184"/>
                </a:cubicBezTo>
                <a:cubicBezTo>
                  <a:pt x="168" y="184"/>
                  <a:pt x="167" y="183"/>
                  <a:pt x="167" y="183"/>
                </a:cubicBezTo>
                <a:cubicBezTo>
                  <a:pt x="167" y="183"/>
                  <a:pt x="167" y="182"/>
                  <a:pt x="167" y="182"/>
                </a:cubicBezTo>
                <a:cubicBezTo>
                  <a:pt x="167" y="182"/>
                  <a:pt x="166" y="182"/>
                  <a:pt x="166" y="182"/>
                </a:cubicBezTo>
                <a:cubicBezTo>
                  <a:pt x="166" y="182"/>
                  <a:pt x="165" y="178"/>
                  <a:pt x="165" y="181"/>
                </a:cubicBezTo>
                <a:cubicBezTo>
                  <a:pt x="164" y="180"/>
                  <a:pt x="165" y="178"/>
                  <a:pt x="164" y="177"/>
                </a:cubicBezTo>
                <a:cubicBezTo>
                  <a:pt x="166" y="177"/>
                  <a:pt x="166" y="175"/>
                  <a:pt x="166" y="175"/>
                </a:cubicBezTo>
                <a:cubicBezTo>
                  <a:pt x="167" y="173"/>
                  <a:pt x="165" y="174"/>
                  <a:pt x="165" y="173"/>
                </a:cubicBezTo>
                <a:cubicBezTo>
                  <a:pt x="165" y="172"/>
                  <a:pt x="166" y="171"/>
                  <a:pt x="165" y="170"/>
                </a:cubicBezTo>
                <a:cubicBezTo>
                  <a:pt x="166" y="169"/>
                  <a:pt x="166" y="169"/>
                  <a:pt x="167" y="169"/>
                </a:cubicBezTo>
                <a:cubicBezTo>
                  <a:pt x="167" y="169"/>
                  <a:pt x="167" y="168"/>
                  <a:pt x="167" y="168"/>
                </a:cubicBezTo>
                <a:cubicBezTo>
                  <a:pt x="167" y="168"/>
                  <a:pt x="168" y="168"/>
                  <a:pt x="168" y="168"/>
                </a:cubicBezTo>
                <a:cubicBezTo>
                  <a:pt x="168" y="168"/>
                  <a:pt x="168" y="167"/>
                  <a:pt x="168" y="167"/>
                </a:cubicBezTo>
                <a:cubicBezTo>
                  <a:pt x="168" y="167"/>
                  <a:pt x="169" y="166"/>
                  <a:pt x="169" y="166"/>
                </a:cubicBezTo>
                <a:cubicBezTo>
                  <a:pt x="169" y="166"/>
                  <a:pt x="168" y="166"/>
                  <a:pt x="168" y="166"/>
                </a:cubicBezTo>
                <a:cubicBezTo>
                  <a:pt x="168" y="166"/>
                  <a:pt x="168" y="166"/>
                  <a:pt x="169" y="166"/>
                </a:cubicBezTo>
                <a:cubicBezTo>
                  <a:pt x="170" y="167"/>
                  <a:pt x="169" y="165"/>
                  <a:pt x="170" y="165"/>
                </a:cubicBezTo>
                <a:cubicBezTo>
                  <a:pt x="171" y="165"/>
                  <a:pt x="170" y="164"/>
                  <a:pt x="171" y="163"/>
                </a:cubicBezTo>
                <a:cubicBezTo>
                  <a:pt x="171" y="163"/>
                  <a:pt x="173" y="161"/>
                  <a:pt x="172" y="160"/>
                </a:cubicBezTo>
                <a:cubicBezTo>
                  <a:pt x="171" y="160"/>
                  <a:pt x="172" y="160"/>
                  <a:pt x="172" y="159"/>
                </a:cubicBezTo>
                <a:cubicBezTo>
                  <a:pt x="172" y="158"/>
                  <a:pt x="171" y="155"/>
                  <a:pt x="171" y="154"/>
                </a:cubicBezTo>
                <a:cubicBezTo>
                  <a:pt x="169" y="154"/>
                  <a:pt x="169" y="152"/>
                  <a:pt x="167" y="153"/>
                </a:cubicBezTo>
                <a:cubicBezTo>
                  <a:pt x="166" y="153"/>
                  <a:pt x="167" y="154"/>
                  <a:pt x="166" y="155"/>
                </a:cubicBezTo>
                <a:cubicBezTo>
                  <a:pt x="164" y="155"/>
                  <a:pt x="163" y="153"/>
                  <a:pt x="161" y="153"/>
                </a:cubicBezTo>
                <a:cubicBezTo>
                  <a:pt x="161" y="152"/>
                  <a:pt x="159" y="153"/>
                  <a:pt x="160" y="151"/>
                </a:cubicBezTo>
                <a:cubicBezTo>
                  <a:pt x="159" y="151"/>
                  <a:pt x="158" y="151"/>
                  <a:pt x="158" y="151"/>
                </a:cubicBezTo>
                <a:cubicBezTo>
                  <a:pt x="158" y="151"/>
                  <a:pt x="158" y="150"/>
                  <a:pt x="158" y="150"/>
                </a:cubicBezTo>
                <a:cubicBezTo>
                  <a:pt x="158" y="150"/>
                  <a:pt x="157" y="150"/>
                  <a:pt x="157" y="150"/>
                </a:cubicBezTo>
                <a:cubicBezTo>
                  <a:pt x="157" y="150"/>
                  <a:pt x="157" y="149"/>
                  <a:pt x="156" y="149"/>
                </a:cubicBezTo>
                <a:cubicBezTo>
                  <a:pt x="156" y="147"/>
                  <a:pt x="157" y="148"/>
                  <a:pt x="156" y="147"/>
                </a:cubicBezTo>
                <a:cubicBezTo>
                  <a:pt x="156" y="146"/>
                  <a:pt x="156" y="146"/>
                  <a:pt x="156" y="147"/>
                </a:cubicBezTo>
                <a:cubicBezTo>
                  <a:pt x="155" y="146"/>
                  <a:pt x="155" y="145"/>
                  <a:pt x="153" y="145"/>
                </a:cubicBezTo>
                <a:cubicBezTo>
                  <a:pt x="154" y="144"/>
                  <a:pt x="152" y="145"/>
                  <a:pt x="152" y="143"/>
                </a:cubicBezTo>
                <a:cubicBezTo>
                  <a:pt x="152" y="143"/>
                  <a:pt x="149" y="143"/>
                  <a:pt x="150" y="143"/>
                </a:cubicBezTo>
                <a:cubicBezTo>
                  <a:pt x="149" y="143"/>
                  <a:pt x="150" y="143"/>
                  <a:pt x="150" y="143"/>
                </a:cubicBezTo>
                <a:cubicBezTo>
                  <a:pt x="149" y="142"/>
                  <a:pt x="149" y="143"/>
                  <a:pt x="149" y="143"/>
                </a:cubicBezTo>
                <a:cubicBezTo>
                  <a:pt x="148" y="142"/>
                  <a:pt x="147" y="142"/>
                  <a:pt x="146" y="142"/>
                </a:cubicBezTo>
                <a:cubicBezTo>
                  <a:pt x="146" y="140"/>
                  <a:pt x="145" y="141"/>
                  <a:pt x="144" y="141"/>
                </a:cubicBezTo>
                <a:cubicBezTo>
                  <a:pt x="144" y="141"/>
                  <a:pt x="144" y="140"/>
                  <a:pt x="144" y="140"/>
                </a:cubicBezTo>
                <a:cubicBezTo>
                  <a:pt x="144" y="140"/>
                  <a:pt x="143" y="140"/>
                  <a:pt x="143" y="140"/>
                </a:cubicBezTo>
                <a:cubicBezTo>
                  <a:pt x="143" y="140"/>
                  <a:pt x="143" y="139"/>
                  <a:pt x="143" y="139"/>
                </a:cubicBezTo>
                <a:cubicBezTo>
                  <a:pt x="143" y="139"/>
                  <a:pt x="142" y="139"/>
                  <a:pt x="142" y="139"/>
                </a:cubicBezTo>
                <a:cubicBezTo>
                  <a:pt x="142" y="139"/>
                  <a:pt x="142" y="138"/>
                  <a:pt x="142" y="138"/>
                </a:cubicBezTo>
                <a:cubicBezTo>
                  <a:pt x="142" y="138"/>
                  <a:pt x="142" y="138"/>
                  <a:pt x="142" y="138"/>
                </a:cubicBezTo>
                <a:cubicBezTo>
                  <a:pt x="141" y="138"/>
                  <a:pt x="140" y="138"/>
                  <a:pt x="140" y="137"/>
                </a:cubicBezTo>
                <a:cubicBezTo>
                  <a:pt x="140" y="138"/>
                  <a:pt x="139" y="137"/>
                  <a:pt x="139" y="137"/>
                </a:cubicBezTo>
                <a:cubicBezTo>
                  <a:pt x="138" y="138"/>
                  <a:pt x="137" y="138"/>
                  <a:pt x="136" y="138"/>
                </a:cubicBezTo>
                <a:cubicBezTo>
                  <a:pt x="135" y="138"/>
                  <a:pt x="135" y="138"/>
                  <a:pt x="135" y="138"/>
                </a:cubicBezTo>
                <a:cubicBezTo>
                  <a:pt x="133" y="138"/>
                  <a:pt x="134" y="139"/>
                  <a:pt x="133" y="138"/>
                </a:cubicBezTo>
                <a:cubicBezTo>
                  <a:pt x="132" y="137"/>
                  <a:pt x="132" y="138"/>
                  <a:pt x="130" y="137"/>
                </a:cubicBezTo>
                <a:cubicBezTo>
                  <a:pt x="130" y="137"/>
                  <a:pt x="130" y="137"/>
                  <a:pt x="130" y="136"/>
                </a:cubicBezTo>
                <a:cubicBezTo>
                  <a:pt x="130" y="136"/>
                  <a:pt x="129" y="137"/>
                  <a:pt x="129" y="136"/>
                </a:cubicBezTo>
                <a:cubicBezTo>
                  <a:pt x="128" y="136"/>
                  <a:pt x="126" y="136"/>
                  <a:pt x="128" y="135"/>
                </a:cubicBezTo>
                <a:cubicBezTo>
                  <a:pt x="126" y="135"/>
                  <a:pt x="126" y="134"/>
                  <a:pt x="125" y="134"/>
                </a:cubicBezTo>
                <a:cubicBezTo>
                  <a:pt x="125" y="134"/>
                  <a:pt x="124" y="133"/>
                  <a:pt x="124" y="133"/>
                </a:cubicBezTo>
                <a:cubicBezTo>
                  <a:pt x="122" y="133"/>
                  <a:pt x="122" y="131"/>
                  <a:pt x="120" y="131"/>
                </a:cubicBezTo>
                <a:cubicBezTo>
                  <a:pt x="119" y="129"/>
                  <a:pt x="118" y="128"/>
                  <a:pt x="119" y="126"/>
                </a:cubicBezTo>
                <a:cubicBezTo>
                  <a:pt x="119" y="124"/>
                  <a:pt x="116" y="125"/>
                  <a:pt x="117" y="123"/>
                </a:cubicBezTo>
                <a:cubicBezTo>
                  <a:pt x="117" y="123"/>
                  <a:pt x="117" y="124"/>
                  <a:pt x="116" y="124"/>
                </a:cubicBezTo>
                <a:cubicBezTo>
                  <a:pt x="116" y="124"/>
                  <a:pt x="116" y="123"/>
                  <a:pt x="116" y="123"/>
                </a:cubicBezTo>
                <a:cubicBezTo>
                  <a:pt x="116" y="122"/>
                  <a:pt x="115" y="122"/>
                  <a:pt x="115" y="122"/>
                </a:cubicBezTo>
                <a:cubicBezTo>
                  <a:pt x="115" y="121"/>
                  <a:pt x="114" y="121"/>
                  <a:pt x="113" y="121"/>
                </a:cubicBezTo>
                <a:cubicBezTo>
                  <a:pt x="113" y="121"/>
                  <a:pt x="114" y="121"/>
                  <a:pt x="114" y="120"/>
                </a:cubicBezTo>
                <a:cubicBezTo>
                  <a:pt x="114" y="120"/>
                  <a:pt x="113" y="119"/>
                  <a:pt x="113" y="119"/>
                </a:cubicBezTo>
                <a:cubicBezTo>
                  <a:pt x="113" y="119"/>
                  <a:pt x="112" y="119"/>
                  <a:pt x="112" y="119"/>
                </a:cubicBezTo>
                <a:cubicBezTo>
                  <a:pt x="112" y="119"/>
                  <a:pt x="112" y="118"/>
                  <a:pt x="112" y="118"/>
                </a:cubicBezTo>
                <a:cubicBezTo>
                  <a:pt x="111" y="117"/>
                  <a:pt x="109" y="116"/>
                  <a:pt x="109" y="115"/>
                </a:cubicBezTo>
                <a:cubicBezTo>
                  <a:pt x="108" y="114"/>
                  <a:pt x="108" y="115"/>
                  <a:pt x="107" y="114"/>
                </a:cubicBezTo>
                <a:cubicBezTo>
                  <a:pt x="107" y="113"/>
                  <a:pt x="106" y="113"/>
                  <a:pt x="106" y="113"/>
                </a:cubicBezTo>
                <a:cubicBezTo>
                  <a:pt x="106" y="112"/>
                  <a:pt x="106" y="110"/>
                  <a:pt x="105" y="110"/>
                </a:cubicBezTo>
                <a:cubicBezTo>
                  <a:pt x="105" y="108"/>
                  <a:pt x="104" y="107"/>
                  <a:pt x="102" y="107"/>
                </a:cubicBezTo>
                <a:cubicBezTo>
                  <a:pt x="102" y="107"/>
                  <a:pt x="102" y="107"/>
                  <a:pt x="101" y="108"/>
                </a:cubicBezTo>
                <a:cubicBezTo>
                  <a:pt x="101" y="109"/>
                  <a:pt x="102" y="109"/>
                  <a:pt x="103" y="110"/>
                </a:cubicBezTo>
                <a:cubicBezTo>
                  <a:pt x="103" y="110"/>
                  <a:pt x="103" y="111"/>
                  <a:pt x="103" y="111"/>
                </a:cubicBezTo>
                <a:cubicBezTo>
                  <a:pt x="103" y="111"/>
                  <a:pt x="103" y="111"/>
                  <a:pt x="103" y="111"/>
                </a:cubicBezTo>
                <a:cubicBezTo>
                  <a:pt x="104" y="111"/>
                  <a:pt x="103" y="113"/>
                  <a:pt x="104" y="113"/>
                </a:cubicBezTo>
                <a:cubicBezTo>
                  <a:pt x="105" y="113"/>
                  <a:pt x="104" y="114"/>
                  <a:pt x="105" y="115"/>
                </a:cubicBezTo>
                <a:cubicBezTo>
                  <a:pt x="105" y="115"/>
                  <a:pt x="105" y="115"/>
                  <a:pt x="105" y="115"/>
                </a:cubicBezTo>
                <a:cubicBezTo>
                  <a:pt x="105" y="116"/>
                  <a:pt x="107" y="116"/>
                  <a:pt x="106" y="118"/>
                </a:cubicBezTo>
                <a:cubicBezTo>
                  <a:pt x="106" y="118"/>
                  <a:pt x="107" y="118"/>
                  <a:pt x="108" y="118"/>
                </a:cubicBezTo>
                <a:cubicBezTo>
                  <a:pt x="107" y="119"/>
                  <a:pt x="108" y="119"/>
                  <a:pt x="108" y="119"/>
                </a:cubicBezTo>
                <a:cubicBezTo>
                  <a:pt x="108" y="120"/>
                  <a:pt x="108" y="120"/>
                  <a:pt x="108" y="120"/>
                </a:cubicBezTo>
                <a:cubicBezTo>
                  <a:pt x="108" y="121"/>
                  <a:pt x="109" y="121"/>
                  <a:pt x="109" y="122"/>
                </a:cubicBezTo>
                <a:cubicBezTo>
                  <a:pt x="108" y="121"/>
                  <a:pt x="108" y="121"/>
                  <a:pt x="106" y="121"/>
                </a:cubicBezTo>
                <a:cubicBezTo>
                  <a:pt x="107" y="119"/>
                  <a:pt x="105" y="120"/>
                  <a:pt x="105" y="118"/>
                </a:cubicBezTo>
                <a:cubicBezTo>
                  <a:pt x="105" y="117"/>
                  <a:pt x="104" y="117"/>
                  <a:pt x="104" y="117"/>
                </a:cubicBezTo>
                <a:cubicBezTo>
                  <a:pt x="103" y="116"/>
                  <a:pt x="103" y="116"/>
                  <a:pt x="103" y="115"/>
                </a:cubicBezTo>
                <a:cubicBezTo>
                  <a:pt x="102" y="115"/>
                  <a:pt x="101" y="115"/>
                  <a:pt x="101" y="115"/>
                </a:cubicBezTo>
                <a:cubicBezTo>
                  <a:pt x="101" y="113"/>
                  <a:pt x="101" y="114"/>
                  <a:pt x="102" y="114"/>
                </a:cubicBezTo>
                <a:cubicBezTo>
                  <a:pt x="102" y="112"/>
                  <a:pt x="100" y="113"/>
                  <a:pt x="101" y="111"/>
                </a:cubicBezTo>
                <a:cubicBezTo>
                  <a:pt x="100" y="111"/>
                  <a:pt x="99" y="110"/>
                  <a:pt x="98" y="110"/>
                </a:cubicBezTo>
                <a:cubicBezTo>
                  <a:pt x="98" y="109"/>
                  <a:pt x="99" y="109"/>
                  <a:pt x="98" y="108"/>
                </a:cubicBezTo>
                <a:cubicBezTo>
                  <a:pt x="98" y="107"/>
                  <a:pt x="98" y="107"/>
                  <a:pt x="98" y="107"/>
                </a:cubicBezTo>
                <a:cubicBezTo>
                  <a:pt x="97" y="106"/>
                  <a:pt x="98" y="104"/>
                  <a:pt x="95" y="105"/>
                </a:cubicBezTo>
                <a:cubicBezTo>
                  <a:pt x="96" y="104"/>
                  <a:pt x="96" y="104"/>
                  <a:pt x="95" y="103"/>
                </a:cubicBezTo>
                <a:cubicBezTo>
                  <a:pt x="95" y="103"/>
                  <a:pt x="95" y="102"/>
                  <a:pt x="95" y="102"/>
                </a:cubicBezTo>
                <a:cubicBezTo>
                  <a:pt x="95" y="102"/>
                  <a:pt x="94" y="103"/>
                  <a:pt x="94" y="102"/>
                </a:cubicBezTo>
                <a:cubicBezTo>
                  <a:pt x="93" y="102"/>
                  <a:pt x="94" y="102"/>
                  <a:pt x="94" y="102"/>
                </a:cubicBezTo>
                <a:cubicBezTo>
                  <a:pt x="94" y="101"/>
                  <a:pt x="92" y="101"/>
                  <a:pt x="90" y="100"/>
                </a:cubicBezTo>
                <a:cubicBezTo>
                  <a:pt x="90" y="100"/>
                  <a:pt x="90" y="99"/>
                  <a:pt x="90" y="99"/>
                </a:cubicBezTo>
                <a:cubicBezTo>
                  <a:pt x="89" y="99"/>
                  <a:pt x="89" y="98"/>
                  <a:pt x="89" y="98"/>
                </a:cubicBezTo>
                <a:cubicBezTo>
                  <a:pt x="89" y="97"/>
                  <a:pt x="89" y="96"/>
                  <a:pt x="88" y="95"/>
                </a:cubicBezTo>
                <a:cubicBezTo>
                  <a:pt x="88" y="95"/>
                  <a:pt x="87" y="95"/>
                  <a:pt x="87" y="94"/>
                </a:cubicBezTo>
                <a:cubicBezTo>
                  <a:pt x="87" y="94"/>
                  <a:pt x="87" y="93"/>
                  <a:pt x="86" y="93"/>
                </a:cubicBezTo>
                <a:cubicBezTo>
                  <a:pt x="86" y="91"/>
                  <a:pt x="85" y="90"/>
                  <a:pt x="84" y="89"/>
                </a:cubicBezTo>
                <a:cubicBezTo>
                  <a:pt x="84" y="88"/>
                  <a:pt x="84" y="87"/>
                  <a:pt x="83" y="87"/>
                </a:cubicBezTo>
                <a:cubicBezTo>
                  <a:pt x="83" y="82"/>
                  <a:pt x="83" y="79"/>
                  <a:pt x="83" y="72"/>
                </a:cubicBezTo>
                <a:cubicBezTo>
                  <a:pt x="83" y="72"/>
                  <a:pt x="82" y="72"/>
                  <a:pt x="82" y="71"/>
                </a:cubicBezTo>
                <a:cubicBezTo>
                  <a:pt x="82" y="71"/>
                  <a:pt x="82" y="70"/>
                  <a:pt x="81" y="70"/>
                </a:cubicBezTo>
                <a:cubicBezTo>
                  <a:pt x="81" y="70"/>
                  <a:pt x="81" y="70"/>
                  <a:pt x="80" y="70"/>
                </a:cubicBezTo>
                <a:cubicBezTo>
                  <a:pt x="80" y="67"/>
                  <a:pt x="78" y="66"/>
                  <a:pt x="77" y="65"/>
                </a:cubicBezTo>
                <a:cubicBezTo>
                  <a:pt x="77" y="64"/>
                  <a:pt x="76" y="64"/>
                  <a:pt x="76" y="64"/>
                </a:cubicBezTo>
                <a:cubicBezTo>
                  <a:pt x="77" y="64"/>
                  <a:pt x="78" y="64"/>
                  <a:pt x="78" y="64"/>
                </a:cubicBezTo>
                <a:cubicBezTo>
                  <a:pt x="79" y="64"/>
                  <a:pt x="78" y="65"/>
                  <a:pt x="80" y="65"/>
                </a:cubicBezTo>
                <a:cubicBezTo>
                  <a:pt x="80" y="65"/>
                  <a:pt x="80" y="66"/>
                  <a:pt x="80" y="66"/>
                </a:cubicBezTo>
                <a:cubicBezTo>
                  <a:pt x="82" y="66"/>
                  <a:pt x="83" y="68"/>
                  <a:pt x="84" y="68"/>
                </a:cubicBezTo>
                <a:cubicBezTo>
                  <a:pt x="84" y="70"/>
                  <a:pt x="85" y="70"/>
                  <a:pt x="86" y="71"/>
                </a:cubicBezTo>
                <a:cubicBezTo>
                  <a:pt x="86" y="71"/>
                  <a:pt x="86" y="70"/>
                  <a:pt x="86" y="70"/>
                </a:cubicBezTo>
                <a:cubicBezTo>
                  <a:pt x="86" y="69"/>
                  <a:pt x="85" y="69"/>
                  <a:pt x="85" y="69"/>
                </a:cubicBezTo>
                <a:cubicBezTo>
                  <a:pt x="85" y="68"/>
                  <a:pt x="85" y="68"/>
                  <a:pt x="85" y="67"/>
                </a:cubicBezTo>
                <a:cubicBezTo>
                  <a:pt x="85" y="67"/>
                  <a:pt x="84" y="66"/>
                  <a:pt x="84" y="66"/>
                </a:cubicBezTo>
                <a:cubicBezTo>
                  <a:pt x="84" y="66"/>
                  <a:pt x="85" y="66"/>
                  <a:pt x="85" y="66"/>
                </a:cubicBezTo>
                <a:cubicBezTo>
                  <a:pt x="84" y="65"/>
                  <a:pt x="83" y="65"/>
                  <a:pt x="83" y="64"/>
                </a:cubicBezTo>
                <a:cubicBezTo>
                  <a:pt x="81" y="64"/>
                  <a:pt x="81" y="63"/>
                  <a:pt x="79" y="63"/>
                </a:cubicBezTo>
                <a:cubicBezTo>
                  <a:pt x="79" y="61"/>
                  <a:pt x="77" y="62"/>
                  <a:pt x="78" y="61"/>
                </a:cubicBezTo>
                <a:cubicBezTo>
                  <a:pt x="77" y="60"/>
                  <a:pt x="77" y="61"/>
                  <a:pt x="76" y="60"/>
                </a:cubicBezTo>
                <a:cubicBezTo>
                  <a:pt x="76" y="59"/>
                  <a:pt x="76" y="60"/>
                  <a:pt x="77" y="59"/>
                </a:cubicBezTo>
                <a:cubicBezTo>
                  <a:pt x="77" y="58"/>
                  <a:pt x="75" y="59"/>
                  <a:pt x="75" y="59"/>
                </a:cubicBezTo>
                <a:cubicBezTo>
                  <a:pt x="75" y="59"/>
                  <a:pt x="75" y="58"/>
                  <a:pt x="75" y="58"/>
                </a:cubicBezTo>
                <a:cubicBezTo>
                  <a:pt x="75" y="58"/>
                  <a:pt x="74" y="58"/>
                  <a:pt x="74" y="58"/>
                </a:cubicBezTo>
                <a:cubicBezTo>
                  <a:pt x="74" y="58"/>
                  <a:pt x="75" y="58"/>
                  <a:pt x="74" y="57"/>
                </a:cubicBezTo>
                <a:cubicBezTo>
                  <a:pt x="74" y="56"/>
                  <a:pt x="74" y="57"/>
                  <a:pt x="73" y="57"/>
                </a:cubicBezTo>
                <a:cubicBezTo>
                  <a:pt x="72" y="56"/>
                  <a:pt x="73" y="55"/>
                  <a:pt x="72" y="55"/>
                </a:cubicBezTo>
                <a:cubicBezTo>
                  <a:pt x="72" y="54"/>
                  <a:pt x="71" y="54"/>
                  <a:pt x="71" y="54"/>
                </a:cubicBezTo>
                <a:cubicBezTo>
                  <a:pt x="72" y="52"/>
                  <a:pt x="67" y="53"/>
                  <a:pt x="67" y="51"/>
                </a:cubicBezTo>
                <a:cubicBezTo>
                  <a:pt x="68" y="51"/>
                  <a:pt x="68" y="51"/>
                  <a:pt x="69" y="51"/>
                </a:cubicBezTo>
                <a:cubicBezTo>
                  <a:pt x="69" y="50"/>
                  <a:pt x="67" y="51"/>
                  <a:pt x="67" y="49"/>
                </a:cubicBezTo>
                <a:cubicBezTo>
                  <a:pt x="66" y="49"/>
                  <a:pt x="66" y="49"/>
                  <a:pt x="65" y="49"/>
                </a:cubicBezTo>
                <a:cubicBezTo>
                  <a:pt x="66" y="49"/>
                  <a:pt x="64" y="48"/>
                  <a:pt x="65" y="48"/>
                </a:cubicBezTo>
                <a:cubicBezTo>
                  <a:pt x="65" y="47"/>
                  <a:pt x="64" y="47"/>
                  <a:pt x="64" y="47"/>
                </a:cubicBezTo>
                <a:cubicBezTo>
                  <a:pt x="63" y="46"/>
                  <a:pt x="64" y="46"/>
                  <a:pt x="63" y="45"/>
                </a:cubicBezTo>
                <a:cubicBezTo>
                  <a:pt x="62" y="45"/>
                  <a:pt x="61" y="45"/>
                  <a:pt x="60" y="45"/>
                </a:cubicBezTo>
                <a:cubicBezTo>
                  <a:pt x="61" y="44"/>
                  <a:pt x="61" y="44"/>
                  <a:pt x="61" y="43"/>
                </a:cubicBezTo>
                <a:cubicBezTo>
                  <a:pt x="61" y="42"/>
                  <a:pt x="60" y="43"/>
                  <a:pt x="61" y="42"/>
                </a:cubicBezTo>
                <a:cubicBezTo>
                  <a:pt x="59" y="42"/>
                  <a:pt x="58" y="43"/>
                  <a:pt x="56" y="42"/>
                </a:cubicBezTo>
                <a:cubicBezTo>
                  <a:pt x="56" y="41"/>
                  <a:pt x="55" y="40"/>
                  <a:pt x="54" y="40"/>
                </a:cubicBezTo>
                <a:cubicBezTo>
                  <a:pt x="54" y="40"/>
                  <a:pt x="53" y="40"/>
                  <a:pt x="53" y="39"/>
                </a:cubicBezTo>
                <a:cubicBezTo>
                  <a:pt x="52" y="39"/>
                  <a:pt x="53" y="39"/>
                  <a:pt x="53" y="38"/>
                </a:cubicBezTo>
                <a:cubicBezTo>
                  <a:pt x="52" y="38"/>
                  <a:pt x="51" y="39"/>
                  <a:pt x="52" y="38"/>
                </a:cubicBezTo>
                <a:cubicBezTo>
                  <a:pt x="50" y="37"/>
                  <a:pt x="47" y="39"/>
                  <a:pt x="46" y="38"/>
                </a:cubicBezTo>
                <a:cubicBezTo>
                  <a:pt x="46" y="38"/>
                  <a:pt x="46" y="38"/>
                  <a:pt x="46" y="38"/>
                </a:cubicBezTo>
                <a:cubicBezTo>
                  <a:pt x="45" y="37"/>
                  <a:pt x="45" y="38"/>
                  <a:pt x="45" y="38"/>
                </a:cubicBezTo>
                <a:cubicBezTo>
                  <a:pt x="44" y="38"/>
                  <a:pt x="45" y="37"/>
                  <a:pt x="43" y="37"/>
                </a:cubicBezTo>
                <a:cubicBezTo>
                  <a:pt x="43" y="36"/>
                  <a:pt x="41" y="36"/>
                  <a:pt x="42" y="35"/>
                </a:cubicBezTo>
                <a:cubicBezTo>
                  <a:pt x="41" y="35"/>
                  <a:pt x="41" y="36"/>
                  <a:pt x="41" y="36"/>
                </a:cubicBezTo>
                <a:cubicBezTo>
                  <a:pt x="41" y="36"/>
                  <a:pt x="40" y="35"/>
                  <a:pt x="40" y="35"/>
                </a:cubicBezTo>
                <a:cubicBezTo>
                  <a:pt x="39" y="35"/>
                  <a:pt x="39" y="36"/>
                  <a:pt x="38" y="36"/>
                </a:cubicBezTo>
                <a:cubicBezTo>
                  <a:pt x="37" y="36"/>
                  <a:pt x="38" y="37"/>
                  <a:pt x="38" y="38"/>
                </a:cubicBezTo>
                <a:cubicBezTo>
                  <a:pt x="37" y="38"/>
                  <a:pt x="37" y="37"/>
                  <a:pt x="36" y="38"/>
                </a:cubicBezTo>
                <a:cubicBezTo>
                  <a:pt x="36" y="38"/>
                  <a:pt x="36" y="38"/>
                  <a:pt x="36" y="38"/>
                </a:cubicBezTo>
                <a:cubicBezTo>
                  <a:pt x="35" y="39"/>
                  <a:pt x="34" y="39"/>
                  <a:pt x="33" y="39"/>
                </a:cubicBezTo>
                <a:cubicBezTo>
                  <a:pt x="32" y="39"/>
                  <a:pt x="33" y="40"/>
                  <a:pt x="32" y="40"/>
                </a:cubicBezTo>
                <a:cubicBezTo>
                  <a:pt x="31" y="40"/>
                  <a:pt x="31" y="39"/>
                  <a:pt x="30" y="39"/>
                </a:cubicBezTo>
                <a:cubicBezTo>
                  <a:pt x="31" y="39"/>
                  <a:pt x="32" y="38"/>
                  <a:pt x="31" y="37"/>
                </a:cubicBezTo>
                <a:cubicBezTo>
                  <a:pt x="32" y="37"/>
                  <a:pt x="32" y="36"/>
                  <a:pt x="32" y="36"/>
                </a:cubicBezTo>
                <a:cubicBezTo>
                  <a:pt x="32" y="35"/>
                  <a:pt x="32" y="35"/>
                  <a:pt x="31" y="35"/>
                </a:cubicBezTo>
                <a:cubicBezTo>
                  <a:pt x="30" y="36"/>
                  <a:pt x="31" y="36"/>
                  <a:pt x="30" y="37"/>
                </a:cubicBezTo>
                <a:cubicBezTo>
                  <a:pt x="29" y="37"/>
                  <a:pt x="29" y="38"/>
                  <a:pt x="29" y="38"/>
                </a:cubicBezTo>
                <a:cubicBezTo>
                  <a:pt x="28" y="38"/>
                  <a:pt x="28" y="39"/>
                  <a:pt x="27" y="39"/>
                </a:cubicBezTo>
                <a:cubicBezTo>
                  <a:pt x="27" y="40"/>
                  <a:pt x="27" y="40"/>
                  <a:pt x="26" y="40"/>
                </a:cubicBezTo>
                <a:cubicBezTo>
                  <a:pt x="26" y="41"/>
                  <a:pt x="26" y="41"/>
                  <a:pt x="26" y="42"/>
                </a:cubicBezTo>
                <a:cubicBezTo>
                  <a:pt x="25" y="42"/>
                  <a:pt x="25" y="44"/>
                  <a:pt x="24" y="45"/>
                </a:cubicBezTo>
                <a:cubicBezTo>
                  <a:pt x="23" y="45"/>
                  <a:pt x="23" y="44"/>
                  <a:pt x="23" y="45"/>
                </a:cubicBezTo>
                <a:cubicBezTo>
                  <a:pt x="22" y="45"/>
                  <a:pt x="23" y="45"/>
                  <a:pt x="23" y="45"/>
                </a:cubicBezTo>
                <a:cubicBezTo>
                  <a:pt x="23" y="46"/>
                  <a:pt x="21" y="46"/>
                  <a:pt x="21" y="46"/>
                </a:cubicBezTo>
                <a:cubicBezTo>
                  <a:pt x="22" y="47"/>
                  <a:pt x="20" y="46"/>
                  <a:pt x="19" y="47"/>
                </a:cubicBezTo>
                <a:cubicBezTo>
                  <a:pt x="19" y="47"/>
                  <a:pt x="19" y="49"/>
                  <a:pt x="18" y="49"/>
                </a:cubicBezTo>
                <a:cubicBezTo>
                  <a:pt x="18" y="48"/>
                  <a:pt x="18" y="49"/>
                  <a:pt x="18" y="49"/>
                </a:cubicBezTo>
                <a:cubicBezTo>
                  <a:pt x="17" y="49"/>
                  <a:pt x="17" y="49"/>
                  <a:pt x="16" y="49"/>
                </a:cubicBezTo>
                <a:cubicBezTo>
                  <a:pt x="15" y="50"/>
                  <a:pt x="17" y="50"/>
                  <a:pt x="15" y="50"/>
                </a:cubicBezTo>
                <a:cubicBezTo>
                  <a:pt x="14" y="50"/>
                  <a:pt x="13" y="50"/>
                  <a:pt x="12" y="51"/>
                </a:cubicBezTo>
                <a:cubicBezTo>
                  <a:pt x="11" y="51"/>
                  <a:pt x="11" y="52"/>
                  <a:pt x="10" y="52"/>
                </a:cubicBezTo>
                <a:cubicBezTo>
                  <a:pt x="10" y="50"/>
                  <a:pt x="11" y="51"/>
                  <a:pt x="12" y="50"/>
                </a:cubicBezTo>
                <a:cubicBezTo>
                  <a:pt x="13" y="50"/>
                  <a:pt x="13" y="50"/>
                  <a:pt x="13" y="50"/>
                </a:cubicBezTo>
                <a:cubicBezTo>
                  <a:pt x="13" y="49"/>
                  <a:pt x="14" y="49"/>
                  <a:pt x="15" y="49"/>
                </a:cubicBezTo>
                <a:cubicBezTo>
                  <a:pt x="15" y="49"/>
                  <a:pt x="15" y="48"/>
                  <a:pt x="15" y="48"/>
                </a:cubicBezTo>
                <a:cubicBezTo>
                  <a:pt x="15" y="48"/>
                  <a:pt x="16" y="49"/>
                  <a:pt x="17" y="47"/>
                </a:cubicBezTo>
                <a:cubicBezTo>
                  <a:pt x="17" y="47"/>
                  <a:pt x="17" y="47"/>
                  <a:pt x="17" y="47"/>
                </a:cubicBezTo>
                <a:cubicBezTo>
                  <a:pt x="17" y="46"/>
                  <a:pt x="18" y="47"/>
                  <a:pt x="19" y="46"/>
                </a:cubicBezTo>
                <a:cubicBezTo>
                  <a:pt x="19" y="45"/>
                  <a:pt x="19" y="44"/>
                  <a:pt x="19" y="44"/>
                </a:cubicBezTo>
                <a:cubicBezTo>
                  <a:pt x="20" y="45"/>
                  <a:pt x="19" y="42"/>
                  <a:pt x="21" y="43"/>
                </a:cubicBezTo>
                <a:cubicBezTo>
                  <a:pt x="21" y="42"/>
                  <a:pt x="19" y="43"/>
                  <a:pt x="19" y="41"/>
                </a:cubicBezTo>
                <a:cubicBezTo>
                  <a:pt x="19" y="42"/>
                  <a:pt x="16" y="41"/>
                  <a:pt x="16" y="42"/>
                </a:cubicBezTo>
                <a:cubicBezTo>
                  <a:pt x="15" y="42"/>
                  <a:pt x="15" y="41"/>
                  <a:pt x="15" y="41"/>
                </a:cubicBezTo>
                <a:cubicBezTo>
                  <a:pt x="15" y="41"/>
                  <a:pt x="13" y="42"/>
                  <a:pt x="12" y="41"/>
                </a:cubicBezTo>
                <a:cubicBezTo>
                  <a:pt x="13" y="40"/>
                  <a:pt x="12" y="41"/>
                  <a:pt x="11" y="40"/>
                </a:cubicBezTo>
                <a:cubicBezTo>
                  <a:pt x="11" y="40"/>
                  <a:pt x="12" y="40"/>
                  <a:pt x="12" y="40"/>
                </a:cubicBezTo>
                <a:cubicBezTo>
                  <a:pt x="11" y="39"/>
                  <a:pt x="10" y="39"/>
                  <a:pt x="10" y="38"/>
                </a:cubicBezTo>
                <a:cubicBezTo>
                  <a:pt x="9" y="38"/>
                  <a:pt x="8" y="38"/>
                  <a:pt x="6" y="38"/>
                </a:cubicBezTo>
                <a:cubicBezTo>
                  <a:pt x="6" y="37"/>
                  <a:pt x="6" y="37"/>
                  <a:pt x="7" y="37"/>
                </a:cubicBezTo>
                <a:cubicBezTo>
                  <a:pt x="6" y="36"/>
                  <a:pt x="5" y="36"/>
                  <a:pt x="5" y="35"/>
                </a:cubicBezTo>
                <a:cubicBezTo>
                  <a:pt x="5" y="34"/>
                  <a:pt x="5" y="34"/>
                  <a:pt x="4" y="34"/>
                </a:cubicBezTo>
                <a:cubicBezTo>
                  <a:pt x="3" y="34"/>
                  <a:pt x="4" y="33"/>
                  <a:pt x="4" y="32"/>
                </a:cubicBezTo>
                <a:cubicBezTo>
                  <a:pt x="4" y="32"/>
                  <a:pt x="4" y="32"/>
                  <a:pt x="4" y="31"/>
                </a:cubicBezTo>
                <a:cubicBezTo>
                  <a:pt x="5" y="31"/>
                  <a:pt x="5" y="32"/>
                  <a:pt x="5" y="31"/>
                </a:cubicBezTo>
                <a:cubicBezTo>
                  <a:pt x="6" y="31"/>
                  <a:pt x="5" y="30"/>
                  <a:pt x="6" y="30"/>
                </a:cubicBezTo>
                <a:cubicBezTo>
                  <a:pt x="7" y="30"/>
                  <a:pt x="9" y="30"/>
                  <a:pt x="10" y="29"/>
                </a:cubicBezTo>
                <a:cubicBezTo>
                  <a:pt x="10" y="29"/>
                  <a:pt x="11" y="29"/>
                  <a:pt x="11" y="29"/>
                </a:cubicBezTo>
                <a:cubicBezTo>
                  <a:pt x="12" y="28"/>
                  <a:pt x="11" y="27"/>
                  <a:pt x="13" y="28"/>
                </a:cubicBezTo>
                <a:cubicBezTo>
                  <a:pt x="13" y="27"/>
                  <a:pt x="13" y="26"/>
                  <a:pt x="12" y="24"/>
                </a:cubicBezTo>
                <a:cubicBezTo>
                  <a:pt x="11" y="23"/>
                  <a:pt x="9" y="26"/>
                  <a:pt x="8" y="24"/>
                </a:cubicBezTo>
                <a:cubicBezTo>
                  <a:pt x="7" y="24"/>
                  <a:pt x="7" y="25"/>
                  <a:pt x="6" y="25"/>
                </a:cubicBezTo>
                <a:cubicBezTo>
                  <a:pt x="5" y="24"/>
                  <a:pt x="4" y="25"/>
                  <a:pt x="3" y="24"/>
                </a:cubicBezTo>
                <a:cubicBezTo>
                  <a:pt x="2" y="24"/>
                  <a:pt x="3" y="23"/>
                  <a:pt x="3" y="23"/>
                </a:cubicBezTo>
                <a:cubicBezTo>
                  <a:pt x="2" y="23"/>
                  <a:pt x="1" y="23"/>
                  <a:pt x="1" y="21"/>
                </a:cubicBezTo>
                <a:cubicBezTo>
                  <a:pt x="4" y="22"/>
                  <a:pt x="0" y="20"/>
                  <a:pt x="3" y="20"/>
                </a:cubicBezTo>
                <a:cubicBezTo>
                  <a:pt x="4" y="20"/>
                  <a:pt x="4" y="20"/>
                  <a:pt x="3" y="20"/>
                </a:cubicBezTo>
                <a:cubicBezTo>
                  <a:pt x="4" y="19"/>
                  <a:pt x="4" y="20"/>
                  <a:pt x="4" y="20"/>
                </a:cubicBezTo>
                <a:cubicBezTo>
                  <a:pt x="5" y="20"/>
                  <a:pt x="5" y="19"/>
                  <a:pt x="6" y="19"/>
                </a:cubicBezTo>
                <a:cubicBezTo>
                  <a:pt x="7" y="19"/>
                  <a:pt x="7" y="20"/>
                  <a:pt x="7" y="20"/>
                </a:cubicBezTo>
                <a:cubicBezTo>
                  <a:pt x="8" y="21"/>
                  <a:pt x="9" y="20"/>
                  <a:pt x="10" y="20"/>
                </a:cubicBezTo>
                <a:cubicBezTo>
                  <a:pt x="11" y="20"/>
                  <a:pt x="11" y="21"/>
                  <a:pt x="12" y="20"/>
                </a:cubicBezTo>
                <a:cubicBezTo>
                  <a:pt x="13" y="20"/>
                  <a:pt x="12" y="20"/>
                  <a:pt x="12" y="19"/>
                </a:cubicBezTo>
                <a:cubicBezTo>
                  <a:pt x="12" y="19"/>
                  <a:pt x="13" y="19"/>
                  <a:pt x="13" y="19"/>
                </a:cubicBezTo>
                <a:cubicBezTo>
                  <a:pt x="13" y="18"/>
                  <a:pt x="11" y="19"/>
                  <a:pt x="11" y="17"/>
                </a:cubicBezTo>
                <a:cubicBezTo>
                  <a:pt x="10" y="17"/>
                  <a:pt x="9" y="17"/>
                  <a:pt x="8" y="17"/>
                </a:cubicBezTo>
                <a:cubicBezTo>
                  <a:pt x="8" y="16"/>
                  <a:pt x="8" y="16"/>
                  <a:pt x="7" y="15"/>
                </a:cubicBezTo>
                <a:cubicBezTo>
                  <a:pt x="7" y="15"/>
                  <a:pt x="7" y="15"/>
                  <a:pt x="7" y="15"/>
                </a:cubicBezTo>
                <a:cubicBezTo>
                  <a:pt x="6" y="14"/>
                  <a:pt x="5" y="15"/>
                  <a:pt x="5" y="14"/>
                </a:cubicBezTo>
                <a:cubicBezTo>
                  <a:pt x="5" y="14"/>
                  <a:pt x="6" y="13"/>
                  <a:pt x="5" y="13"/>
                </a:cubicBezTo>
                <a:cubicBezTo>
                  <a:pt x="5" y="13"/>
                  <a:pt x="5" y="13"/>
                  <a:pt x="4" y="13"/>
                </a:cubicBezTo>
                <a:cubicBezTo>
                  <a:pt x="4" y="13"/>
                  <a:pt x="4" y="13"/>
                  <a:pt x="3" y="13"/>
                </a:cubicBezTo>
                <a:cubicBezTo>
                  <a:pt x="4" y="12"/>
                  <a:pt x="6" y="11"/>
                  <a:pt x="8" y="10"/>
                </a:cubicBezTo>
                <a:cubicBezTo>
                  <a:pt x="7" y="9"/>
                  <a:pt x="9" y="9"/>
                  <a:pt x="10" y="8"/>
                </a:cubicBezTo>
                <a:cubicBezTo>
                  <a:pt x="10" y="8"/>
                  <a:pt x="9" y="7"/>
                  <a:pt x="10" y="6"/>
                </a:cubicBezTo>
                <a:cubicBezTo>
                  <a:pt x="11" y="7"/>
                  <a:pt x="11" y="7"/>
                  <a:pt x="13" y="7"/>
                </a:cubicBezTo>
                <a:cubicBezTo>
                  <a:pt x="14" y="5"/>
                  <a:pt x="16" y="4"/>
                  <a:pt x="18" y="5"/>
                </a:cubicBezTo>
                <a:cubicBezTo>
                  <a:pt x="19" y="5"/>
                  <a:pt x="19" y="4"/>
                  <a:pt x="19" y="4"/>
                </a:cubicBezTo>
                <a:cubicBezTo>
                  <a:pt x="20" y="4"/>
                  <a:pt x="22" y="4"/>
                  <a:pt x="22" y="3"/>
                </a:cubicBezTo>
                <a:cubicBezTo>
                  <a:pt x="22" y="3"/>
                  <a:pt x="22" y="4"/>
                  <a:pt x="23" y="4"/>
                </a:cubicBezTo>
                <a:cubicBezTo>
                  <a:pt x="23" y="4"/>
                  <a:pt x="24" y="4"/>
                  <a:pt x="24" y="5"/>
                </a:cubicBezTo>
                <a:cubicBezTo>
                  <a:pt x="26" y="5"/>
                  <a:pt x="28" y="5"/>
                  <a:pt x="30" y="5"/>
                </a:cubicBezTo>
                <a:cubicBezTo>
                  <a:pt x="28" y="7"/>
                  <a:pt x="33" y="4"/>
                  <a:pt x="31" y="6"/>
                </a:cubicBezTo>
                <a:cubicBezTo>
                  <a:pt x="33" y="6"/>
                  <a:pt x="33" y="6"/>
                  <a:pt x="33" y="5"/>
                </a:cubicBezTo>
                <a:cubicBezTo>
                  <a:pt x="34" y="6"/>
                  <a:pt x="36" y="6"/>
                  <a:pt x="38" y="6"/>
                </a:cubicBezTo>
                <a:cubicBezTo>
                  <a:pt x="38" y="6"/>
                  <a:pt x="38" y="7"/>
                  <a:pt x="38" y="7"/>
                </a:cubicBezTo>
                <a:cubicBezTo>
                  <a:pt x="38" y="7"/>
                  <a:pt x="39" y="7"/>
                  <a:pt x="39" y="7"/>
                </a:cubicBezTo>
                <a:cubicBezTo>
                  <a:pt x="40" y="7"/>
                  <a:pt x="41" y="6"/>
                  <a:pt x="41" y="7"/>
                </a:cubicBezTo>
                <a:cubicBezTo>
                  <a:pt x="42" y="7"/>
                  <a:pt x="47" y="7"/>
                  <a:pt x="47" y="8"/>
                </a:cubicBezTo>
                <a:cubicBezTo>
                  <a:pt x="48" y="8"/>
                  <a:pt x="51" y="8"/>
                  <a:pt x="53" y="9"/>
                </a:cubicBezTo>
                <a:cubicBezTo>
                  <a:pt x="53" y="9"/>
                  <a:pt x="54" y="10"/>
                  <a:pt x="54" y="10"/>
                </a:cubicBezTo>
                <a:cubicBezTo>
                  <a:pt x="56" y="11"/>
                  <a:pt x="56" y="12"/>
                  <a:pt x="58" y="11"/>
                </a:cubicBezTo>
                <a:cubicBezTo>
                  <a:pt x="58" y="12"/>
                  <a:pt x="60" y="12"/>
                  <a:pt x="61" y="12"/>
                </a:cubicBezTo>
                <a:cubicBezTo>
                  <a:pt x="61" y="11"/>
                  <a:pt x="61" y="12"/>
                  <a:pt x="60" y="11"/>
                </a:cubicBezTo>
                <a:cubicBezTo>
                  <a:pt x="61" y="10"/>
                  <a:pt x="63" y="9"/>
                  <a:pt x="64" y="9"/>
                </a:cubicBezTo>
                <a:cubicBezTo>
                  <a:pt x="64" y="10"/>
                  <a:pt x="65" y="10"/>
                  <a:pt x="65" y="10"/>
                </a:cubicBezTo>
                <a:cubicBezTo>
                  <a:pt x="65" y="10"/>
                  <a:pt x="65" y="10"/>
                  <a:pt x="66" y="10"/>
                </a:cubicBezTo>
                <a:cubicBezTo>
                  <a:pt x="67" y="11"/>
                  <a:pt x="66" y="10"/>
                  <a:pt x="66" y="9"/>
                </a:cubicBezTo>
                <a:cubicBezTo>
                  <a:pt x="67" y="9"/>
                  <a:pt x="68" y="9"/>
                  <a:pt x="68" y="10"/>
                </a:cubicBezTo>
                <a:cubicBezTo>
                  <a:pt x="69" y="9"/>
                  <a:pt x="68" y="9"/>
                  <a:pt x="69" y="8"/>
                </a:cubicBezTo>
                <a:cubicBezTo>
                  <a:pt x="70" y="8"/>
                  <a:pt x="71" y="8"/>
                  <a:pt x="71" y="8"/>
                </a:cubicBezTo>
                <a:cubicBezTo>
                  <a:pt x="71" y="8"/>
                  <a:pt x="71" y="9"/>
                  <a:pt x="70" y="9"/>
                </a:cubicBezTo>
                <a:cubicBezTo>
                  <a:pt x="71" y="10"/>
                  <a:pt x="74" y="7"/>
                  <a:pt x="75" y="9"/>
                </a:cubicBezTo>
                <a:cubicBezTo>
                  <a:pt x="76" y="9"/>
                  <a:pt x="74" y="8"/>
                  <a:pt x="75" y="8"/>
                </a:cubicBezTo>
                <a:cubicBezTo>
                  <a:pt x="76" y="7"/>
                  <a:pt x="76" y="7"/>
                  <a:pt x="77" y="7"/>
                </a:cubicBezTo>
                <a:cubicBezTo>
                  <a:pt x="77" y="7"/>
                  <a:pt x="77" y="8"/>
                  <a:pt x="77" y="8"/>
                </a:cubicBezTo>
                <a:cubicBezTo>
                  <a:pt x="78" y="7"/>
                  <a:pt x="78" y="9"/>
                  <a:pt x="79" y="9"/>
                </a:cubicBezTo>
                <a:cubicBezTo>
                  <a:pt x="80" y="9"/>
                  <a:pt x="81" y="9"/>
                  <a:pt x="82" y="8"/>
                </a:cubicBezTo>
                <a:cubicBezTo>
                  <a:pt x="83" y="9"/>
                  <a:pt x="84" y="9"/>
                  <a:pt x="83" y="10"/>
                </a:cubicBezTo>
                <a:cubicBezTo>
                  <a:pt x="84" y="10"/>
                  <a:pt x="85" y="9"/>
                  <a:pt x="86" y="8"/>
                </a:cubicBezTo>
                <a:cubicBezTo>
                  <a:pt x="87" y="9"/>
                  <a:pt x="87" y="8"/>
                  <a:pt x="88" y="9"/>
                </a:cubicBezTo>
                <a:cubicBezTo>
                  <a:pt x="90" y="9"/>
                  <a:pt x="91" y="9"/>
                  <a:pt x="92" y="9"/>
                </a:cubicBezTo>
                <a:cubicBezTo>
                  <a:pt x="92" y="9"/>
                  <a:pt x="91" y="10"/>
                  <a:pt x="91" y="10"/>
                </a:cubicBezTo>
                <a:cubicBezTo>
                  <a:pt x="91" y="10"/>
                  <a:pt x="93" y="11"/>
                  <a:pt x="92" y="10"/>
                </a:cubicBezTo>
                <a:cubicBezTo>
                  <a:pt x="93" y="11"/>
                  <a:pt x="93" y="10"/>
                  <a:pt x="94" y="10"/>
                </a:cubicBezTo>
                <a:cubicBezTo>
                  <a:pt x="94" y="10"/>
                  <a:pt x="93" y="11"/>
                  <a:pt x="94" y="11"/>
                </a:cubicBezTo>
                <a:cubicBezTo>
                  <a:pt x="95" y="12"/>
                  <a:pt x="97" y="11"/>
                  <a:pt x="98" y="11"/>
                </a:cubicBezTo>
                <a:cubicBezTo>
                  <a:pt x="98" y="12"/>
                  <a:pt x="99" y="11"/>
                  <a:pt x="100" y="11"/>
                </a:cubicBezTo>
                <a:cubicBezTo>
                  <a:pt x="99" y="13"/>
                  <a:pt x="101" y="12"/>
                  <a:pt x="101" y="13"/>
                </a:cubicBezTo>
                <a:cubicBezTo>
                  <a:pt x="101" y="14"/>
                  <a:pt x="100" y="13"/>
                  <a:pt x="100" y="14"/>
                </a:cubicBezTo>
                <a:cubicBezTo>
                  <a:pt x="100" y="15"/>
                  <a:pt x="101" y="15"/>
                  <a:pt x="101" y="16"/>
                </a:cubicBezTo>
                <a:cubicBezTo>
                  <a:pt x="106" y="15"/>
                  <a:pt x="110" y="15"/>
                  <a:pt x="114" y="17"/>
                </a:cubicBezTo>
                <a:cubicBezTo>
                  <a:pt x="113" y="17"/>
                  <a:pt x="113" y="17"/>
                  <a:pt x="113" y="18"/>
                </a:cubicBezTo>
                <a:cubicBezTo>
                  <a:pt x="114" y="18"/>
                  <a:pt x="114" y="17"/>
                  <a:pt x="115" y="17"/>
                </a:cubicBezTo>
                <a:cubicBezTo>
                  <a:pt x="115" y="16"/>
                  <a:pt x="115" y="16"/>
                  <a:pt x="115" y="15"/>
                </a:cubicBezTo>
                <a:cubicBezTo>
                  <a:pt x="115" y="14"/>
                  <a:pt x="118" y="14"/>
                  <a:pt x="117" y="13"/>
                </a:cubicBezTo>
                <a:cubicBezTo>
                  <a:pt x="118" y="12"/>
                  <a:pt x="118" y="13"/>
                  <a:pt x="119" y="13"/>
                </a:cubicBezTo>
                <a:cubicBezTo>
                  <a:pt x="119" y="14"/>
                  <a:pt x="120" y="14"/>
                  <a:pt x="120" y="14"/>
                </a:cubicBezTo>
                <a:cubicBezTo>
                  <a:pt x="122" y="15"/>
                  <a:pt x="123" y="14"/>
                  <a:pt x="124" y="14"/>
                </a:cubicBezTo>
                <a:cubicBezTo>
                  <a:pt x="124" y="14"/>
                  <a:pt x="124" y="15"/>
                  <a:pt x="125" y="15"/>
                </a:cubicBezTo>
                <a:cubicBezTo>
                  <a:pt x="125" y="15"/>
                  <a:pt x="125" y="15"/>
                  <a:pt x="126" y="15"/>
                </a:cubicBezTo>
                <a:cubicBezTo>
                  <a:pt x="127" y="15"/>
                  <a:pt x="129" y="14"/>
                  <a:pt x="131" y="15"/>
                </a:cubicBezTo>
                <a:cubicBezTo>
                  <a:pt x="133" y="14"/>
                  <a:pt x="132" y="13"/>
                  <a:pt x="133" y="12"/>
                </a:cubicBezTo>
                <a:cubicBezTo>
                  <a:pt x="132" y="10"/>
                  <a:pt x="131" y="11"/>
                  <a:pt x="131" y="10"/>
                </a:cubicBezTo>
                <a:cubicBezTo>
                  <a:pt x="131" y="8"/>
                  <a:pt x="135" y="9"/>
                  <a:pt x="136" y="10"/>
                </a:cubicBezTo>
                <a:cubicBezTo>
                  <a:pt x="136" y="11"/>
                  <a:pt x="136" y="11"/>
                  <a:pt x="135" y="11"/>
                </a:cubicBezTo>
                <a:cubicBezTo>
                  <a:pt x="136" y="12"/>
                  <a:pt x="135" y="12"/>
                  <a:pt x="135" y="13"/>
                </a:cubicBezTo>
                <a:cubicBezTo>
                  <a:pt x="134" y="14"/>
                  <a:pt x="135" y="14"/>
                  <a:pt x="136" y="14"/>
                </a:cubicBezTo>
                <a:cubicBezTo>
                  <a:pt x="135" y="15"/>
                  <a:pt x="136" y="15"/>
                  <a:pt x="136" y="17"/>
                </a:cubicBezTo>
                <a:cubicBezTo>
                  <a:pt x="137" y="17"/>
                  <a:pt x="138" y="14"/>
                  <a:pt x="137" y="15"/>
                </a:cubicBezTo>
                <a:cubicBezTo>
                  <a:pt x="138" y="15"/>
                  <a:pt x="139" y="16"/>
                  <a:pt x="138" y="14"/>
                </a:cubicBezTo>
                <a:cubicBezTo>
                  <a:pt x="140" y="14"/>
                  <a:pt x="140" y="12"/>
                  <a:pt x="141" y="11"/>
                </a:cubicBezTo>
                <a:cubicBezTo>
                  <a:pt x="141" y="10"/>
                  <a:pt x="140" y="9"/>
                  <a:pt x="138" y="9"/>
                </a:cubicBezTo>
                <a:cubicBezTo>
                  <a:pt x="139" y="8"/>
                  <a:pt x="137" y="7"/>
                  <a:pt x="136" y="7"/>
                </a:cubicBezTo>
                <a:cubicBezTo>
                  <a:pt x="136" y="6"/>
                  <a:pt x="136" y="5"/>
                  <a:pt x="135" y="5"/>
                </a:cubicBezTo>
                <a:cubicBezTo>
                  <a:pt x="135" y="4"/>
                  <a:pt x="136" y="4"/>
                  <a:pt x="136" y="3"/>
                </a:cubicBezTo>
                <a:cubicBezTo>
                  <a:pt x="137" y="3"/>
                  <a:pt x="138" y="2"/>
                  <a:pt x="137" y="2"/>
                </a:cubicBezTo>
                <a:cubicBezTo>
                  <a:pt x="136" y="1"/>
                  <a:pt x="139" y="2"/>
                  <a:pt x="138" y="1"/>
                </a:cubicBezTo>
                <a:cubicBezTo>
                  <a:pt x="138" y="0"/>
                  <a:pt x="139" y="2"/>
                  <a:pt x="139" y="2"/>
                </a:cubicBezTo>
                <a:cubicBezTo>
                  <a:pt x="140" y="2"/>
                  <a:pt x="141" y="1"/>
                  <a:pt x="141" y="2"/>
                </a:cubicBezTo>
                <a:cubicBezTo>
                  <a:pt x="141" y="2"/>
                  <a:pt x="140" y="2"/>
                  <a:pt x="141" y="3"/>
                </a:cubicBezTo>
                <a:cubicBezTo>
                  <a:pt x="141" y="3"/>
                  <a:pt x="142" y="2"/>
                  <a:pt x="142" y="3"/>
                </a:cubicBezTo>
                <a:cubicBezTo>
                  <a:pt x="142" y="3"/>
                  <a:pt x="142" y="4"/>
                  <a:pt x="142" y="4"/>
                </a:cubicBezTo>
                <a:cubicBezTo>
                  <a:pt x="142" y="4"/>
                  <a:pt x="143" y="4"/>
                  <a:pt x="143" y="4"/>
                </a:cubicBezTo>
                <a:cubicBezTo>
                  <a:pt x="143" y="5"/>
                  <a:pt x="142" y="5"/>
                  <a:pt x="143" y="6"/>
                </a:cubicBezTo>
                <a:cubicBezTo>
                  <a:pt x="143" y="6"/>
                  <a:pt x="144" y="6"/>
                  <a:pt x="144" y="7"/>
                </a:cubicBezTo>
                <a:cubicBezTo>
                  <a:pt x="144" y="7"/>
                  <a:pt x="143" y="7"/>
                  <a:pt x="143" y="7"/>
                </a:cubicBezTo>
                <a:cubicBezTo>
                  <a:pt x="143" y="8"/>
                  <a:pt x="143" y="8"/>
                  <a:pt x="143" y="9"/>
                </a:cubicBezTo>
                <a:cubicBezTo>
                  <a:pt x="142" y="9"/>
                  <a:pt x="146" y="10"/>
                  <a:pt x="145" y="8"/>
                </a:cubicBezTo>
                <a:cubicBezTo>
                  <a:pt x="146" y="8"/>
                  <a:pt x="145" y="9"/>
                  <a:pt x="147" y="9"/>
                </a:cubicBezTo>
                <a:cubicBezTo>
                  <a:pt x="146" y="10"/>
                  <a:pt x="147" y="10"/>
                  <a:pt x="147" y="11"/>
                </a:cubicBezTo>
                <a:cubicBezTo>
                  <a:pt x="149" y="12"/>
                  <a:pt x="148" y="10"/>
                  <a:pt x="150" y="11"/>
                </a:cubicBezTo>
                <a:cubicBezTo>
                  <a:pt x="150" y="11"/>
                  <a:pt x="150" y="11"/>
                  <a:pt x="151" y="10"/>
                </a:cubicBezTo>
                <a:cubicBezTo>
                  <a:pt x="152" y="11"/>
                  <a:pt x="150" y="11"/>
                  <a:pt x="151" y="12"/>
                </a:cubicBezTo>
                <a:cubicBezTo>
                  <a:pt x="151" y="12"/>
                  <a:pt x="152" y="12"/>
                  <a:pt x="152" y="12"/>
                </a:cubicBezTo>
                <a:cubicBezTo>
                  <a:pt x="152" y="13"/>
                  <a:pt x="150" y="14"/>
                  <a:pt x="151" y="15"/>
                </a:cubicBezTo>
                <a:close/>
                <a:moveTo>
                  <a:pt x="95" y="20"/>
                </a:moveTo>
                <a:cubicBezTo>
                  <a:pt x="95" y="19"/>
                  <a:pt x="96" y="19"/>
                  <a:pt x="95" y="19"/>
                </a:cubicBezTo>
                <a:cubicBezTo>
                  <a:pt x="95" y="19"/>
                  <a:pt x="95" y="19"/>
                  <a:pt x="95" y="19"/>
                </a:cubicBezTo>
                <a:cubicBezTo>
                  <a:pt x="95" y="19"/>
                  <a:pt x="95" y="18"/>
                  <a:pt x="94" y="18"/>
                </a:cubicBezTo>
                <a:cubicBezTo>
                  <a:pt x="94" y="19"/>
                  <a:pt x="92" y="20"/>
                  <a:pt x="91" y="19"/>
                </a:cubicBezTo>
                <a:cubicBezTo>
                  <a:pt x="91" y="18"/>
                  <a:pt x="93" y="19"/>
                  <a:pt x="92" y="17"/>
                </a:cubicBezTo>
                <a:cubicBezTo>
                  <a:pt x="92" y="17"/>
                  <a:pt x="91" y="17"/>
                  <a:pt x="91" y="17"/>
                </a:cubicBezTo>
                <a:cubicBezTo>
                  <a:pt x="90" y="17"/>
                  <a:pt x="90" y="18"/>
                  <a:pt x="89" y="18"/>
                </a:cubicBezTo>
                <a:cubicBezTo>
                  <a:pt x="88" y="18"/>
                  <a:pt x="87" y="18"/>
                  <a:pt x="86" y="18"/>
                </a:cubicBezTo>
                <a:cubicBezTo>
                  <a:pt x="86" y="18"/>
                  <a:pt x="86" y="19"/>
                  <a:pt x="86" y="19"/>
                </a:cubicBezTo>
                <a:cubicBezTo>
                  <a:pt x="84" y="19"/>
                  <a:pt x="83" y="19"/>
                  <a:pt x="81" y="19"/>
                </a:cubicBezTo>
                <a:cubicBezTo>
                  <a:pt x="81" y="20"/>
                  <a:pt x="80" y="21"/>
                  <a:pt x="81" y="21"/>
                </a:cubicBezTo>
                <a:cubicBezTo>
                  <a:pt x="81" y="20"/>
                  <a:pt x="82" y="20"/>
                  <a:pt x="81" y="21"/>
                </a:cubicBezTo>
                <a:cubicBezTo>
                  <a:pt x="83" y="22"/>
                  <a:pt x="86" y="19"/>
                  <a:pt x="87" y="21"/>
                </a:cubicBezTo>
                <a:cubicBezTo>
                  <a:pt x="86" y="20"/>
                  <a:pt x="87" y="21"/>
                  <a:pt x="86" y="22"/>
                </a:cubicBezTo>
                <a:cubicBezTo>
                  <a:pt x="85" y="22"/>
                  <a:pt x="84" y="22"/>
                  <a:pt x="84" y="23"/>
                </a:cubicBezTo>
                <a:cubicBezTo>
                  <a:pt x="86" y="23"/>
                  <a:pt x="88" y="22"/>
                  <a:pt x="90" y="22"/>
                </a:cubicBezTo>
                <a:cubicBezTo>
                  <a:pt x="90" y="23"/>
                  <a:pt x="90" y="23"/>
                  <a:pt x="90" y="24"/>
                </a:cubicBezTo>
                <a:cubicBezTo>
                  <a:pt x="90" y="23"/>
                  <a:pt x="91" y="23"/>
                  <a:pt x="92" y="23"/>
                </a:cubicBezTo>
                <a:cubicBezTo>
                  <a:pt x="92" y="22"/>
                  <a:pt x="92" y="22"/>
                  <a:pt x="93" y="21"/>
                </a:cubicBezTo>
                <a:cubicBezTo>
                  <a:pt x="94" y="20"/>
                  <a:pt x="93" y="21"/>
                  <a:pt x="94" y="21"/>
                </a:cubicBezTo>
                <a:cubicBezTo>
                  <a:pt x="95" y="21"/>
                  <a:pt x="95" y="20"/>
                  <a:pt x="95" y="20"/>
                </a:cubicBezTo>
                <a:close/>
                <a:moveTo>
                  <a:pt x="99" y="36"/>
                </a:moveTo>
                <a:cubicBezTo>
                  <a:pt x="99" y="35"/>
                  <a:pt x="101" y="35"/>
                  <a:pt x="101" y="35"/>
                </a:cubicBezTo>
                <a:cubicBezTo>
                  <a:pt x="101" y="35"/>
                  <a:pt x="102" y="35"/>
                  <a:pt x="102" y="35"/>
                </a:cubicBezTo>
                <a:cubicBezTo>
                  <a:pt x="103" y="34"/>
                  <a:pt x="104" y="35"/>
                  <a:pt x="104" y="34"/>
                </a:cubicBezTo>
                <a:cubicBezTo>
                  <a:pt x="104" y="34"/>
                  <a:pt x="105" y="33"/>
                  <a:pt x="105" y="33"/>
                </a:cubicBezTo>
                <a:cubicBezTo>
                  <a:pt x="106" y="32"/>
                  <a:pt x="107" y="34"/>
                  <a:pt x="107" y="33"/>
                </a:cubicBezTo>
                <a:cubicBezTo>
                  <a:pt x="107" y="33"/>
                  <a:pt x="107" y="33"/>
                  <a:pt x="107" y="32"/>
                </a:cubicBezTo>
                <a:cubicBezTo>
                  <a:pt x="108" y="32"/>
                  <a:pt x="108" y="32"/>
                  <a:pt x="109" y="32"/>
                </a:cubicBezTo>
                <a:cubicBezTo>
                  <a:pt x="109" y="33"/>
                  <a:pt x="109" y="32"/>
                  <a:pt x="109" y="32"/>
                </a:cubicBezTo>
                <a:cubicBezTo>
                  <a:pt x="108" y="32"/>
                  <a:pt x="109" y="31"/>
                  <a:pt x="110" y="32"/>
                </a:cubicBezTo>
                <a:cubicBezTo>
                  <a:pt x="110" y="31"/>
                  <a:pt x="111" y="31"/>
                  <a:pt x="111" y="30"/>
                </a:cubicBezTo>
                <a:cubicBezTo>
                  <a:pt x="109" y="29"/>
                  <a:pt x="109" y="30"/>
                  <a:pt x="107" y="30"/>
                </a:cubicBezTo>
                <a:cubicBezTo>
                  <a:pt x="107" y="31"/>
                  <a:pt x="107" y="31"/>
                  <a:pt x="106" y="31"/>
                </a:cubicBezTo>
                <a:cubicBezTo>
                  <a:pt x="105" y="32"/>
                  <a:pt x="105" y="31"/>
                  <a:pt x="104" y="31"/>
                </a:cubicBezTo>
                <a:cubicBezTo>
                  <a:pt x="104" y="32"/>
                  <a:pt x="104" y="32"/>
                  <a:pt x="103" y="32"/>
                </a:cubicBezTo>
                <a:cubicBezTo>
                  <a:pt x="102" y="32"/>
                  <a:pt x="102" y="31"/>
                  <a:pt x="101" y="31"/>
                </a:cubicBezTo>
                <a:cubicBezTo>
                  <a:pt x="101" y="31"/>
                  <a:pt x="101" y="31"/>
                  <a:pt x="101" y="31"/>
                </a:cubicBezTo>
                <a:cubicBezTo>
                  <a:pt x="101" y="31"/>
                  <a:pt x="100" y="32"/>
                  <a:pt x="100" y="32"/>
                </a:cubicBezTo>
                <a:cubicBezTo>
                  <a:pt x="100" y="33"/>
                  <a:pt x="101" y="32"/>
                  <a:pt x="101" y="33"/>
                </a:cubicBezTo>
                <a:cubicBezTo>
                  <a:pt x="99" y="33"/>
                  <a:pt x="100" y="33"/>
                  <a:pt x="99" y="34"/>
                </a:cubicBezTo>
                <a:cubicBezTo>
                  <a:pt x="99" y="34"/>
                  <a:pt x="97" y="34"/>
                  <a:pt x="97" y="35"/>
                </a:cubicBezTo>
                <a:cubicBezTo>
                  <a:pt x="97" y="36"/>
                  <a:pt x="95" y="35"/>
                  <a:pt x="96" y="36"/>
                </a:cubicBezTo>
                <a:cubicBezTo>
                  <a:pt x="97" y="36"/>
                  <a:pt x="98" y="36"/>
                  <a:pt x="99" y="36"/>
                </a:cubicBezTo>
                <a:close/>
                <a:moveTo>
                  <a:pt x="133" y="54"/>
                </a:moveTo>
                <a:cubicBezTo>
                  <a:pt x="132" y="54"/>
                  <a:pt x="132" y="55"/>
                  <a:pt x="132" y="55"/>
                </a:cubicBezTo>
                <a:cubicBezTo>
                  <a:pt x="132" y="55"/>
                  <a:pt x="131" y="55"/>
                  <a:pt x="131" y="55"/>
                </a:cubicBezTo>
                <a:cubicBezTo>
                  <a:pt x="131" y="56"/>
                  <a:pt x="131" y="57"/>
                  <a:pt x="130" y="57"/>
                </a:cubicBezTo>
                <a:cubicBezTo>
                  <a:pt x="130" y="57"/>
                  <a:pt x="131" y="56"/>
                  <a:pt x="130" y="56"/>
                </a:cubicBezTo>
                <a:cubicBezTo>
                  <a:pt x="130" y="56"/>
                  <a:pt x="130" y="57"/>
                  <a:pt x="130" y="58"/>
                </a:cubicBezTo>
                <a:cubicBezTo>
                  <a:pt x="131" y="58"/>
                  <a:pt x="132" y="58"/>
                  <a:pt x="132" y="58"/>
                </a:cubicBezTo>
                <a:cubicBezTo>
                  <a:pt x="132" y="58"/>
                  <a:pt x="133" y="59"/>
                  <a:pt x="133" y="59"/>
                </a:cubicBezTo>
                <a:cubicBezTo>
                  <a:pt x="134" y="61"/>
                  <a:pt x="134" y="61"/>
                  <a:pt x="135" y="61"/>
                </a:cubicBezTo>
                <a:cubicBezTo>
                  <a:pt x="134" y="61"/>
                  <a:pt x="134" y="61"/>
                  <a:pt x="134" y="62"/>
                </a:cubicBezTo>
                <a:cubicBezTo>
                  <a:pt x="134" y="63"/>
                  <a:pt x="134" y="63"/>
                  <a:pt x="134" y="64"/>
                </a:cubicBezTo>
                <a:cubicBezTo>
                  <a:pt x="135" y="64"/>
                  <a:pt x="135" y="64"/>
                  <a:pt x="136" y="64"/>
                </a:cubicBezTo>
                <a:cubicBezTo>
                  <a:pt x="137" y="63"/>
                  <a:pt x="137" y="62"/>
                  <a:pt x="136" y="61"/>
                </a:cubicBezTo>
                <a:cubicBezTo>
                  <a:pt x="136" y="61"/>
                  <a:pt x="135" y="60"/>
                  <a:pt x="135" y="60"/>
                </a:cubicBezTo>
                <a:cubicBezTo>
                  <a:pt x="136" y="57"/>
                  <a:pt x="135" y="59"/>
                  <a:pt x="135" y="58"/>
                </a:cubicBezTo>
                <a:cubicBezTo>
                  <a:pt x="134" y="57"/>
                  <a:pt x="134" y="55"/>
                  <a:pt x="134" y="54"/>
                </a:cubicBezTo>
                <a:cubicBezTo>
                  <a:pt x="133" y="54"/>
                  <a:pt x="133" y="54"/>
                  <a:pt x="133" y="54"/>
                </a:cubicBezTo>
                <a:close/>
                <a:moveTo>
                  <a:pt x="151" y="69"/>
                </a:moveTo>
                <a:cubicBezTo>
                  <a:pt x="149" y="68"/>
                  <a:pt x="150" y="70"/>
                  <a:pt x="149" y="70"/>
                </a:cubicBezTo>
                <a:cubicBezTo>
                  <a:pt x="149" y="69"/>
                  <a:pt x="149" y="69"/>
                  <a:pt x="148" y="69"/>
                </a:cubicBezTo>
                <a:cubicBezTo>
                  <a:pt x="148" y="71"/>
                  <a:pt x="146" y="70"/>
                  <a:pt x="146" y="71"/>
                </a:cubicBezTo>
                <a:cubicBezTo>
                  <a:pt x="145" y="71"/>
                  <a:pt x="146" y="71"/>
                  <a:pt x="145" y="72"/>
                </a:cubicBezTo>
                <a:cubicBezTo>
                  <a:pt x="145" y="72"/>
                  <a:pt x="144" y="72"/>
                  <a:pt x="144" y="72"/>
                </a:cubicBezTo>
                <a:cubicBezTo>
                  <a:pt x="145" y="72"/>
                  <a:pt x="144" y="73"/>
                  <a:pt x="144" y="73"/>
                </a:cubicBezTo>
                <a:cubicBezTo>
                  <a:pt x="145" y="74"/>
                  <a:pt x="146" y="73"/>
                  <a:pt x="146" y="73"/>
                </a:cubicBezTo>
                <a:cubicBezTo>
                  <a:pt x="147" y="72"/>
                  <a:pt x="148" y="73"/>
                  <a:pt x="149" y="73"/>
                </a:cubicBezTo>
                <a:cubicBezTo>
                  <a:pt x="150" y="72"/>
                  <a:pt x="150" y="72"/>
                  <a:pt x="151" y="72"/>
                </a:cubicBezTo>
                <a:cubicBezTo>
                  <a:pt x="152" y="72"/>
                  <a:pt x="153" y="72"/>
                  <a:pt x="153" y="73"/>
                </a:cubicBezTo>
                <a:cubicBezTo>
                  <a:pt x="153" y="73"/>
                  <a:pt x="152" y="73"/>
                  <a:pt x="152" y="73"/>
                </a:cubicBezTo>
                <a:cubicBezTo>
                  <a:pt x="153" y="73"/>
                  <a:pt x="153" y="74"/>
                  <a:pt x="153" y="74"/>
                </a:cubicBezTo>
                <a:cubicBezTo>
                  <a:pt x="153" y="74"/>
                  <a:pt x="153" y="74"/>
                  <a:pt x="153" y="73"/>
                </a:cubicBezTo>
                <a:cubicBezTo>
                  <a:pt x="155" y="74"/>
                  <a:pt x="154" y="74"/>
                  <a:pt x="156" y="73"/>
                </a:cubicBezTo>
                <a:cubicBezTo>
                  <a:pt x="157" y="72"/>
                  <a:pt x="158" y="74"/>
                  <a:pt x="159" y="73"/>
                </a:cubicBezTo>
                <a:cubicBezTo>
                  <a:pt x="158" y="72"/>
                  <a:pt x="159" y="70"/>
                  <a:pt x="158" y="72"/>
                </a:cubicBezTo>
                <a:cubicBezTo>
                  <a:pt x="157" y="72"/>
                  <a:pt x="157" y="70"/>
                  <a:pt x="157" y="70"/>
                </a:cubicBezTo>
                <a:cubicBezTo>
                  <a:pt x="157" y="69"/>
                  <a:pt x="156" y="70"/>
                  <a:pt x="156" y="69"/>
                </a:cubicBezTo>
                <a:cubicBezTo>
                  <a:pt x="155" y="69"/>
                  <a:pt x="155" y="69"/>
                  <a:pt x="154" y="69"/>
                </a:cubicBezTo>
                <a:cubicBezTo>
                  <a:pt x="154" y="68"/>
                  <a:pt x="154" y="68"/>
                  <a:pt x="154" y="67"/>
                </a:cubicBezTo>
                <a:cubicBezTo>
                  <a:pt x="152" y="68"/>
                  <a:pt x="153" y="67"/>
                  <a:pt x="151" y="67"/>
                </a:cubicBezTo>
                <a:cubicBezTo>
                  <a:pt x="151" y="68"/>
                  <a:pt x="150" y="68"/>
                  <a:pt x="151" y="69"/>
                </a:cubicBezTo>
                <a:close/>
                <a:moveTo>
                  <a:pt x="164" y="80"/>
                </a:moveTo>
                <a:cubicBezTo>
                  <a:pt x="163" y="80"/>
                  <a:pt x="163" y="80"/>
                  <a:pt x="163" y="80"/>
                </a:cubicBezTo>
                <a:cubicBezTo>
                  <a:pt x="165" y="80"/>
                  <a:pt x="163" y="77"/>
                  <a:pt x="165" y="77"/>
                </a:cubicBezTo>
                <a:cubicBezTo>
                  <a:pt x="166" y="78"/>
                  <a:pt x="166" y="77"/>
                  <a:pt x="168" y="77"/>
                </a:cubicBezTo>
                <a:cubicBezTo>
                  <a:pt x="167" y="74"/>
                  <a:pt x="164" y="74"/>
                  <a:pt x="161" y="74"/>
                </a:cubicBezTo>
                <a:cubicBezTo>
                  <a:pt x="160" y="74"/>
                  <a:pt x="160" y="74"/>
                  <a:pt x="160" y="73"/>
                </a:cubicBezTo>
                <a:cubicBezTo>
                  <a:pt x="159" y="73"/>
                  <a:pt x="159" y="74"/>
                  <a:pt x="158" y="74"/>
                </a:cubicBezTo>
                <a:cubicBezTo>
                  <a:pt x="157" y="74"/>
                  <a:pt x="157" y="74"/>
                  <a:pt x="157" y="74"/>
                </a:cubicBezTo>
                <a:cubicBezTo>
                  <a:pt x="156" y="74"/>
                  <a:pt x="156" y="75"/>
                  <a:pt x="155" y="75"/>
                </a:cubicBezTo>
                <a:cubicBezTo>
                  <a:pt x="154" y="75"/>
                  <a:pt x="154" y="75"/>
                  <a:pt x="153" y="75"/>
                </a:cubicBezTo>
                <a:cubicBezTo>
                  <a:pt x="153" y="76"/>
                  <a:pt x="153" y="77"/>
                  <a:pt x="152" y="77"/>
                </a:cubicBezTo>
                <a:cubicBezTo>
                  <a:pt x="152" y="81"/>
                  <a:pt x="152" y="81"/>
                  <a:pt x="152" y="85"/>
                </a:cubicBezTo>
                <a:cubicBezTo>
                  <a:pt x="154" y="85"/>
                  <a:pt x="153" y="83"/>
                  <a:pt x="154" y="84"/>
                </a:cubicBezTo>
                <a:cubicBezTo>
                  <a:pt x="154" y="83"/>
                  <a:pt x="154" y="82"/>
                  <a:pt x="155" y="82"/>
                </a:cubicBezTo>
                <a:cubicBezTo>
                  <a:pt x="155" y="81"/>
                  <a:pt x="155" y="80"/>
                  <a:pt x="155" y="78"/>
                </a:cubicBezTo>
                <a:cubicBezTo>
                  <a:pt x="155" y="78"/>
                  <a:pt x="156" y="77"/>
                  <a:pt x="156" y="77"/>
                </a:cubicBezTo>
                <a:cubicBezTo>
                  <a:pt x="156" y="77"/>
                  <a:pt x="156" y="76"/>
                  <a:pt x="157" y="76"/>
                </a:cubicBezTo>
                <a:cubicBezTo>
                  <a:pt x="157" y="76"/>
                  <a:pt x="158" y="76"/>
                  <a:pt x="158" y="75"/>
                </a:cubicBezTo>
                <a:cubicBezTo>
                  <a:pt x="158" y="77"/>
                  <a:pt x="160" y="76"/>
                  <a:pt x="160" y="77"/>
                </a:cubicBezTo>
                <a:cubicBezTo>
                  <a:pt x="160" y="78"/>
                  <a:pt x="160" y="78"/>
                  <a:pt x="160" y="79"/>
                </a:cubicBezTo>
                <a:cubicBezTo>
                  <a:pt x="160" y="79"/>
                  <a:pt x="161" y="79"/>
                  <a:pt x="161" y="80"/>
                </a:cubicBezTo>
                <a:cubicBezTo>
                  <a:pt x="160" y="80"/>
                  <a:pt x="160" y="80"/>
                  <a:pt x="160" y="80"/>
                </a:cubicBezTo>
                <a:cubicBezTo>
                  <a:pt x="161" y="79"/>
                  <a:pt x="163" y="81"/>
                  <a:pt x="164" y="80"/>
                </a:cubicBezTo>
                <a:close/>
                <a:moveTo>
                  <a:pt x="172" y="79"/>
                </a:moveTo>
                <a:cubicBezTo>
                  <a:pt x="172" y="79"/>
                  <a:pt x="172" y="80"/>
                  <a:pt x="172" y="80"/>
                </a:cubicBezTo>
                <a:cubicBezTo>
                  <a:pt x="171" y="80"/>
                  <a:pt x="169" y="78"/>
                  <a:pt x="168" y="79"/>
                </a:cubicBezTo>
                <a:cubicBezTo>
                  <a:pt x="168" y="80"/>
                  <a:pt x="168" y="80"/>
                  <a:pt x="167" y="80"/>
                </a:cubicBezTo>
                <a:cubicBezTo>
                  <a:pt x="168" y="82"/>
                  <a:pt x="169" y="81"/>
                  <a:pt x="170" y="81"/>
                </a:cubicBezTo>
                <a:cubicBezTo>
                  <a:pt x="171" y="81"/>
                  <a:pt x="173" y="81"/>
                  <a:pt x="173" y="80"/>
                </a:cubicBezTo>
                <a:cubicBezTo>
                  <a:pt x="173" y="80"/>
                  <a:pt x="173" y="80"/>
                  <a:pt x="173" y="80"/>
                </a:cubicBezTo>
                <a:cubicBezTo>
                  <a:pt x="174" y="80"/>
                  <a:pt x="174" y="80"/>
                  <a:pt x="174" y="80"/>
                </a:cubicBezTo>
                <a:cubicBezTo>
                  <a:pt x="173" y="80"/>
                  <a:pt x="173" y="79"/>
                  <a:pt x="172" y="79"/>
                </a:cubicBezTo>
                <a:close/>
                <a:moveTo>
                  <a:pt x="165" y="82"/>
                </a:moveTo>
                <a:cubicBezTo>
                  <a:pt x="165" y="82"/>
                  <a:pt x="165" y="82"/>
                  <a:pt x="164" y="82"/>
                </a:cubicBezTo>
                <a:cubicBezTo>
                  <a:pt x="164" y="82"/>
                  <a:pt x="165" y="83"/>
                  <a:pt x="164" y="83"/>
                </a:cubicBezTo>
                <a:cubicBezTo>
                  <a:pt x="164" y="83"/>
                  <a:pt x="163" y="83"/>
                  <a:pt x="162" y="83"/>
                </a:cubicBezTo>
                <a:cubicBezTo>
                  <a:pt x="163" y="84"/>
                  <a:pt x="161" y="83"/>
                  <a:pt x="161" y="84"/>
                </a:cubicBezTo>
                <a:cubicBezTo>
                  <a:pt x="161" y="84"/>
                  <a:pt x="162" y="84"/>
                  <a:pt x="162" y="84"/>
                </a:cubicBezTo>
                <a:cubicBezTo>
                  <a:pt x="162" y="85"/>
                  <a:pt x="162" y="85"/>
                  <a:pt x="162" y="85"/>
                </a:cubicBezTo>
                <a:cubicBezTo>
                  <a:pt x="163" y="85"/>
                  <a:pt x="163" y="84"/>
                  <a:pt x="164" y="84"/>
                </a:cubicBezTo>
                <a:cubicBezTo>
                  <a:pt x="164" y="85"/>
                  <a:pt x="165" y="85"/>
                  <a:pt x="166" y="85"/>
                </a:cubicBezTo>
                <a:cubicBezTo>
                  <a:pt x="166" y="83"/>
                  <a:pt x="169" y="84"/>
                  <a:pt x="168" y="82"/>
                </a:cubicBezTo>
                <a:cubicBezTo>
                  <a:pt x="167" y="81"/>
                  <a:pt x="166" y="82"/>
                  <a:pt x="165" y="8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35" name="Freeform 91"/>
          <p:cNvSpPr/>
          <p:nvPr/>
        </p:nvSpPr>
        <p:spPr bwMode="auto">
          <a:xfrm>
            <a:off x="4044619" y="2320925"/>
            <a:ext cx="147638" cy="228600"/>
          </a:xfrm>
          <a:custGeom>
            <a:avLst/>
            <a:gdLst>
              <a:gd name="T0" fmla="*/ 4 w 15"/>
              <a:gd name="T1" fmla="*/ 2 h 23"/>
              <a:gd name="T2" fmla="*/ 7 w 15"/>
              <a:gd name="T3" fmla="*/ 2 h 23"/>
              <a:gd name="T4" fmla="*/ 8 w 15"/>
              <a:gd name="T5" fmla="*/ 4 h 23"/>
              <a:gd name="T6" fmla="*/ 5 w 15"/>
              <a:gd name="T7" fmla="*/ 6 h 23"/>
              <a:gd name="T8" fmla="*/ 8 w 15"/>
              <a:gd name="T9" fmla="*/ 7 h 23"/>
              <a:gd name="T10" fmla="*/ 10 w 15"/>
              <a:gd name="T11" fmla="*/ 10 h 23"/>
              <a:gd name="T12" fmla="*/ 11 w 15"/>
              <a:gd name="T13" fmla="*/ 11 h 23"/>
              <a:gd name="T14" fmla="*/ 12 w 15"/>
              <a:gd name="T15" fmla="*/ 12 h 23"/>
              <a:gd name="T16" fmla="*/ 11 w 15"/>
              <a:gd name="T17" fmla="*/ 14 h 23"/>
              <a:gd name="T18" fmla="*/ 14 w 15"/>
              <a:gd name="T19" fmla="*/ 15 h 23"/>
              <a:gd name="T20" fmla="*/ 14 w 15"/>
              <a:gd name="T21" fmla="*/ 17 h 23"/>
              <a:gd name="T22" fmla="*/ 13 w 15"/>
              <a:gd name="T23" fmla="*/ 17 h 23"/>
              <a:gd name="T24" fmla="*/ 14 w 15"/>
              <a:gd name="T25" fmla="*/ 18 h 23"/>
              <a:gd name="T26" fmla="*/ 13 w 15"/>
              <a:gd name="T27" fmla="*/ 19 h 23"/>
              <a:gd name="T28" fmla="*/ 12 w 15"/>
              <a:gd name="T29" fmla="*/ 20 h 23"/>
              <a:gd name="T30" fmla="*/ 7 w 15"/>
              <a:gd name="T31" fmla="*/ 20 h 23"/>
              <a:gd name="T32" fmla="*/ 5 w 15"/>
              <a:gd name="T33" fmla="*/ 20 h 23"/>
              <a:gd name="T34" fmla="*/ 2 w 15"/>
              <a:gd name="T35" fmla="*/ 20 h 23"/>
              <a:gd name="T36" fmla="*/ 3 w 15"/>
              <a:gd name="T37" fmla="*/ 20 h 23"/>
              <a:gd name="T38" fmla="*/ 4 w 15"/>
              <a:gd name="T39" fmla="*/ 20 h 23"/>
              <a:gd name="T40" fmla="*/ 4 w 15"/>
              <a:gd name="T41" fmla="*/ 19 h 23"/>
              <a:gd name="T42" fmla="*/ 7 w 15"/>
              <a:gd name="T43" fmla="*/ 19 h 23"/>
              <a:gd name="T44" fmla="*/ 3 w 15"/>
              <a:gd name="T45" fmla="*/ 17 h 23"/>
              <a:gd name="T46" fmla="*/ 3 w 15"/>
              <a:gd name="T47" fmla="*/ 15 h 23"/>
              <a:gd name="T48" fmla="*/ 4 w 15"/>
              <a:gd name="T49" fmla="*/ 14 h 23"/>
              <a:gd name="T50" fmla="*/ 6 w 15"/>
              <a:gd name="T51" fmla="*/ 14 h 23"/>
              <a:gd name="T52" fmla="*/ 6 w 15"/>
              <a:gd name="T53" fmla="*/ 11 h 23"/>
              <a:gd name="T54" fmla="*/ 5 w 15"/>
              <a:gd name="T55" fmla="*/ 9 h 23"/>
              <a:gd name="T56" fmla="*/ 3 w 15"/>
              <a:gd name="T57" fmla="*/ 10 h 23"/>
              <a:gd name="T58" fmla="*/ 3 w 15"/>
              <a:gd name="T59" fmla="*/ 8 h 23"/>
              <a:gd name="T60" fmla="*/ 1 w 15"/>
              <a:gd name="T61" fmla="*/ 7 h 23"/>
              <a:gd name="T62" fmla="*/ 0 w 15"/>
              <a:gd name="T63" fmla="*/ 2 h 23"/>
              <a:gd name="T64" fmla="*/ 2 w 15"/>
              <a:gd name="T65" fmla="*/ 0 h 23"/>
              <a:gd name="T66" fmla="*/ 6 w 15"/>
              <a:gd name="T67" fmla="*/ 0 h 23"/>
              <a:gd name="T68" fmla="*/ 4 w 15"/>
              <a:gd name="T69"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 h="23">
                <a:moveTo>
                  <a:pt x="4" y="2"/>
                </a:moveTo>
                <a:cubicBezTo>
                  <a:pt x="4" y="3"/>
                  <a:pt x="6" y="2"/>
                  <a:pt x="7" y="2"/>
                </a:cubicBezTo>
                <a:cubicBezTo>
                  <a:pt x="8" y="2"/>
                  <a:pt x="8" y="3"/>
                  <a:pt x="8" y="4"/>
                </a:cubicBezTo>
                <a:cubicBezTo>
                  <a:pt x="7" y="5"/>
                  <a:pt x="6" y="5"/>
                  <a:pt x="5" y="6"/>
                </a:cubicBezTo>
                <a:cubicBezTo>
                  <a:pt x="6" y="7"/>
                  <a:pt x="7" y="7"/>
                  <a:pt x="8" y="7"/>
                </a:cubicBezTo>
                <a:cubicBezTo>
                  <a:pt x="8" y="9"/>
                  <a:pt x="10" y="8"/>
                  <a:pt x="10" y="10"/>
                </a:cubicBezTo>
                <a:cubicBezTo>
                  <a:pt x="10" y="11"/>
                  <a:pt x="11" y="11"/>
                  <a:pt x="11" y="11"/>
                </a:cubicBezTo>
                <a:cubicBezTo>
                  <a:pt x="11" y="12"/>
                  <a:pt x="12" y="12"/>
                  <a:pt x="12" y="12"/>
                </a:cubicBezTo>
                <a:cubicBezTo>
                  <a:pt x="12" y="13"/>
                  <a:pt x="12" y="13"/>
                  <a:pt x="11" y="14"/>
                </a:cubicBezTo>
                <a:cubicBezTo>
                  <a:pt x="13" y="14"/>
                  <a:pt x="14" y="14"/>
                  <a:pt x="14" y="15"/>
                </a:cubicBezTo>
                <a:cubicBezTo>
                  <a:pt x="14" y="15"/>
                  <a:pt x="15" y="17"/>
                  <a:pt x="14" y="17"/>
                </a:cubicBezTo>
                <a:cubicBezTo>
                  <a:pt x="14" y="17"/>
                  <a:pt x="13" y="17"/>
                  <a:pt x="13" y="17"/>
                </a:cubicBezTo>
                <a:cubicBezTo>
                  <a:pt x="13" y="18"/>
                  <a:pt x="14" y="18"/>
                  <a:pt x="14" y="18"/>
                </a:cubicBezTo>
                <a:cubicBezTo>
                  <a:pt x="14" y="18"/>
                  <a:pt x="13" y="18"/>
                  <a:pt x="13" y="19"/>
                </a:cubicBezTo>
                <a:cubicBezTo>
                  <a:pt x="13" y="19"/>
                  <a:pt x="13" y="20"/>
                  <a:pt x="12" y="20"/>
                </a:cubicBezTo>
                <a:cubicBezTo>
                  <a:pt x="10" y="20"/>
                  <a:pt x="9" y="19"/>
                  <a:pt x="7" y="20"/>
                </a:cubicBezTo>
                <a:cubicBezTo>
                  <a:pt x="6" y="21"/>
                  <a:pt x="7" y="21"/>
                  <a:pt x="5" y="20"/>
                </a:cubicBezTo>
                <a:cubicBezTo>
                  <a:pt x="5" y="21"/>
                  <a:pt x="2" y="23"/>
                  <a:pt x="2" y="20"/>
                </a:cubicBezTo>
                <a:cubicBezTo>
                  <a:pt x="3" y="21"/>
                  <a:pt x="3" y="20"/>
                  <a:pt x="3" y="20"/>
                </a:cubicBezTo>
                <a:cubicBezTo>
                  <a:pt x="3" y="20"/>
                  <a:pt x="4" y="20"/>
                  <a:pt x="4" y="20"/>
                </a:cubicBezTo>
                <a:cubicBezTo>
                  <a:pt x="4" y="20"/>
                  <a:pt x="4" y="20"/>
                  <a:pt x="4" y="19"/>
                </a:cubicBezTo>
                <a:cubicBezTo>
                  <a:pt x="5" y="19"/>
                  <a:pt x="6" y="19"/>
                  <a:pt x="7" y="19"/>
                </a:cubicBezTo>
                <a:cubicBezTo>
                  <a:pt x="6" y="17"/>
                  <a:pt x="4" y="18"/>
                  <a:pt x="3" y="17"/>
                </a:cubicBezTo>
                <a:cubicBezTo>
                  <a:pt x="3" y="16"/>
                  <a:pt x="3" y="16"/>
                  <a:pt x="3" y="15"/>
                </a:cubicBezTo>
                <a:cubicBezTo>
                  <a:pt x="4" y="15"/>
                  <a:pt x="5" y="14"/>
                  <a:pt x="4" y="14"/>
                </a:cubicBezTo>
                <a:cubicBezTo>
                  <a:pt x="4" y="13"/>
                  <a:pt x="5" y="15"/>
                  <a:pt x="6" y="14"/>
                </a:cubicBezTo>
                <a:cubicBezTo>
                  <a:pt x="7" y="14"/>
                  <a:pt x="5" y="12"/>
                  <a:pt x="6" y="11"/>
                </a:cubicBezTo>
                <a:cubicBezTo>
                  <a:pt x="6" y="10"/>
                  <a:pt x="5" y="11"/>
                  <a:pt x="5" y="9"/>
                </a:cubicBezTo>
                <a:cubicBezTo>
                  <a:pt x="5" y="10"/>
                  <a:pt x="4" y="10"/>
                  <a:pt x="3" y="10"/>
                </a:cubicBezTo>
                <a:cubicBezTo>
                  <a:pt x="3" y="9"/>
                  <a:pt x="3" y="8"/>
                  <a:pt x="3" y="8"/>
                </a:cubicBezTo>
                <a:cubicBezTo>
                  <a:pt x="3" y="7"/>
                  <a:pt x="2" y="7"/>
                  <a:pt x="1" y="7"/>
                </a:cubicBezTo>
                <a:cubicBezTo>
                  <a:pt x="2" y="5"/>
                  <a:pt x="2" y="2"/>
                  <a:pt x="0" y="2"/>
                </a:cubicBezTo>
                <a:cubicBezTo>
                  <a:pt x="1" y="1"/>
                  <a:pt x="2" y="1"/>
                  <a:pt x="2" y="0"/>
                </a:cubicBezTo>
                <a:cubicBezTo>
                  <a:pt x="4" y="0"/>
                  <a:pt x="5" y="0"/>
                  <a:pt x="6" y="0"/>
                </a:cubicBezTo>
                <a:cubicBezTo>
                  <a:pt x="5" y="0"/>
                  <a:pt x="5" y="1"/>
                  <a:pt x="4"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36" name="Freeform 92"/>
          <p:cNvSpPr/>
          <p:nvPr/>
        </p:nvSpPr>
        <p:spPr bwMode="auto">
          <a:xfrm>
            <a:off x="1256969" y="2330450"/>
            <a:ext cx="39688" cy="30162"/>
          </a:xfrm>
          <a:custGeom>
            <a:avLst/>
            <a:gdLst>
              <a:gd name="T0" fmla="*/ 3 w 4"/>
              <a:gd name="T1" fmla="*/ 0 h 3"/>
              <a:gd name="T2" fmla="*/ 4 w 4"/>
              <a:gd name="T3" fmla="*/ 2 h 3"/>
              <a:gd name="T4" fmla="*/ 1 w 4"/>
              <a:gd name="T5" fmla="*/ 3 h 3"/>
              <a:gd name="T6" fmla="*/ 1 w 4"/>
              <a:gd name="T7" fmla="*/ 2 h 3"/>
              <a:gd name="T8" fmla="*/ 0 w 4"/>
              <a:gd name="T9" fmla="*/ 2 h 3"/>
              <a:gd name="T10" fmla="*/ 1 w 4"/>
              <a:gd name="T11" fmla="*/ 2 h 3"/>
              <a:gd name="T12" fmla="*/ 3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3" y="0"/>
                </a:moveTo>
                <a:cubicBezTo>
                  <a:pt x="3" y="1"/>
                  <a:pt x="3" y="1"/>
                  <a:pt x="4" y="2"/>
                </a:cubicBezTo>
                <a:cubicBezTo>
                  <a:pt x="3" y="3"/>
                  <a:pt x="2" y="3"/>
                  <a:pt x="1" y="3"/>
                </a:cubicBezTo>
                <a:cubicBezTo>
                  <a:pt x="1" y="3"/>
                  <a:pt x="1" y="2"/>
                  <a:pt x="1" y="2"/>
                </a:cubicBezTo>
                <a:cubicBezTo>
                  <a:pt x="1" y="2"/>
                  <a:pt x="1" y="2"/>
                  <a:pt x="0" y="2"/>
                </a:cubicBezTo>
                <a:cubicBezTo>
                  <a:pt x="0" y="2"/>
                  <a:pt x="1" y="2"/>
                  <a:pt x="1" y="2"/>
                </a:cubicBezTo>
                <a:cubicBezTo>
                  <a:pt x="1" y="2"/>
                  <a:pt x="2" y="0"/>
                  <a:pt x="3"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38" name="Freeform 94"/>
          <p:cNvSpPr/>
          <p:nvPr/>
        </p:nvSpPr>
        <p:spPr bwMode="auto">
          <a:xfrm>
            <a:off x="6208382" y="3433762"/>
            <a:ext cx="187325" cy="217487"/>
          </a:xfrm>
          <a:custGeom>
            <a:avLst/>
            <a:gdLst>
              <a:gd name="T0" fmla="*/ 15 w 19"/>
              <a:gd name="T1" fmla="*/ 1 h 22"/>
              <a:gd name="T2" fmla="*/ 17 w 19"/>
              <a:gd name="T3" fmla="*/ 2 h 22"/>
              <a:gd name="T4" fmla="*/ 19 w 19"/>
              <a:gd name="T5" fmla="*/ 3 h 22"/>
              <a:gd name="T6" fmla="*/ 17 w 19"/>
              <a:gd name="T7" fmla="*/ 6 h 22"/>
              <a:gd name="T8" fmla="*/ 16 w 19"/>
              <a:gd name="T9" fmla="*/ 9 h 22"/>
              <a:gd name="T10" fmla="*/ 17 w 19"/>
              <a:gd name="T11" fmla="*/ 9 h 22"/>
              <a:gd name="T12" fmla="*/ 17 w 19"/>
              <a:gd name="T13" fmla="*/ 11 h 22"/>
              <a:gd name="T14" fmla="*/ 18 w 19"/>
              <a:gd name="T15" fmla="*/ 12 h 22"/>
              <a:gd name="T16" fmla="*/ 16 w 19"/>
              <a:gd name="T17" fmla="*/ 13 h 22"/>
              <a:gd name="T18" fmla="*/ 16 w 19"/>
              <a:gd name="T19" fmla="*/ 16 h 22"/>
              <a:gd name="T20" fmla="*/ 16 w 19"/>
              <a:gd name="T21" fmla="*/ 16 h 22"/>
              <a:gd name="T22" fmla="*/ 15 w 19"/>
              <a:gd name="T23" fmla="*/ 16 h 22"/>
              <a:gd name="T24" fmla="*/ 13 w 19"/>
              <a:gd name="T25" fmla="*/ 18 h 22"/>
              <a:gd name="T26" fmla="*/ 13 w 19"/>
              <a:gd name="T27" fmla="*/ 21 h 22"/>
              <a:gd name="T28" fmla="*/ 9 w 19"/>
              <a:gd name="T29" fmla="*/ 20 h 22"/>
              <a:gd name="T30" fmla="*/ 8 w 19"/>
              <a:gd name="T31" fmla="*/ 21 h 22"/>
              <a:gd name="T32" fmla="*/ 7 w 19"/>
              <a:gd name="T33" fmla="*/ 20 h 22"/>
              <a:gd name="T34" fmla="*/ 4 w 19"/>
              <a:gd name="T35" fmla="*/ 20 h 22"/>
              <a:gd name="T36" fmla="*/ 3 w 19"/>
              <a:gd name="T37" fmla="*/ 19 h 22"/>
              <a:gd name="T38" fmla="*/ 1 w 19"/>
              <a:gd name="T39" fmla="*/ 16 h 22"/>
              <a:gd name="T40" fmla="*/ 2 w 19"/>
              <a:gd name="T41" fmla="*/ 15 h 22"/>
              <a:gd name="T42" fmla="*/ 1 w 19"/>
              <a:gd name="T43" fmla="*/ 15 h 22"/>
              <a:gd name="T44" fmla="*/ 1 w 19"/>
              <a:gd name="T45" fmla="*/ 11 h 22"/>
              <a:gd name="T46" fmla="*/ 5 w 19"/>
              <a:gd name="T47" fmla="*/ 10 h 22"/>
              <a:gd name="T48" fmla="*/ 5 w 19"/>
              <a:gd name="T49" fmla="*/ 9 h 22"/>
              <a:gd name="T50" fmla="*/ 9 w 19"/>
              <a:gd name="T51" fmla="*/ 7 h 22"/>
              <a:gd name="T52" fmla="*/ 11 w 19"/>
              <a:gd name="T53" fmla="*/ 6 h 22"/>
              <a:gd name="T54" fmla="*/ 12 w 19"/>
              <a:gd name="T55" fmla="*/ 4 h 22"/>
              <a:gd name="T56" fmla="*/ 13 w 19"/>
              <a:gd name="T57" fmla="*/ 4 h 22"/>
              <a:gd name="T58" fmla="*/ 14 w 19"/>
              <a:gd name="T59" fmla="*/ 3 h 22"/>
              <a:gd name="T60" fmla="*/ 16 w 19"/>
              <a:gd name="T61" fmla="*/ 1 h 22"/>
              <a:gd name="T62" fmla="*/ 15 w 19"/>
              <a:gd name="T63"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22">
                <a:moveTo>
                  <a:pt x="15" y="1"/>
                </a:moveTo>
                <a:cubicBezTo>
                  <a:pt x="16" y="0"/>
                  <a:pt x="16" y="2"/>
                  <a:pt x="17" y="2"/>
                </a:cubicBezTo>
                <a:cubicBezTo>
                  <a:pt x="18" y="2"/>
                  <a:pt x="18" y="3"/>
                  <a:pt x="19" y="3"/>
                </a:cubicBezTo>
                <a:cubicBezTo>
                  <a:pt x="19" y="5"/>
                  <a:pt x="18" y="6"/>
                  <a:pt x="17" y="6"/>
                </a:cubicBezTo>
                <a:cubicBezTo>
                  <a:pt x="17" y="7"/>
                  <a:pt x="18" y="8"/>
                  <a:pt x="16" y="9"/>
                </a:cubicBezTo>
                <a:cubicBezTo>
                  <a:pt x="16" y="9"/>
                  <a:pt x="17" y="9"/>
                  <a:pt x="17" y="9"/>
                </a:cubicBezTo>
                <a:cubicBezTo>
                  <a:pt x="18" y="10"/>
                  <a:pt x="17" y="11"/>
                  <a:pt x="17" y="11"/>
                </a:cubicBezTo>
                <a:cubicBezTo>
                  <a:pt x="18" y="11"/>
                  <a:pt x="18" y="11"/>
                  <a:pt x="18" y="12"/>
                </a:cubicBezTo>
                <a:cubicBezTo>
                  <a:pt x="18" y="13"/>
                  <a:pt x="17" y="14"/>
                  <a:pt x="16" y="13"/>
                </a:cubicBezTo>
                <a:cubicBezTo>
                  <a:pt x="16" y="14"/>
                  <a:pt x="17" y="15"/>
                  <a:pt x="16" y="16"/>
                </a:cubicBezTo>
                <a:cubicBezTo>
                  <a:pt x="15" y="16"/>
                  <a:pt x="16" y="16"/>
                  <a:pt x="16" y="16"/>
                </a:cubicBezTo>
                <a:cubicBezTo>
                  <a:pt x="15" y="17"/>
                  <a:pt x="15" y="16"/>
                  <a:pt x="15" y="16"/>
                </a:cubicBezTo>
                <a:cubicBezTo>
                  <a:pt x="14" y="17"/>
                  <a:pt x="15" y="19"/>
                  <a:pt x="13" y="18"/>
                </a:cubicBezTo>
                <a:cubicBezTo>
                  <a:pt x="14" y="19"/>
                  <a:pt x="13" y="20"/>
                  <a:pt x="13" y="21"/>
                </a:cubicBezTo>
                <a:cubicBezTo>
                  <a:pt x="11" y="22"/>
                  <a:pt x="10" y="20"/>
                  <a:pt x="9" y="20"/>
                </a:cubicBezTo>
                <a:cubicBezTo>
                  <a:pt x="8" y="20"/>
                  <a:pt x="8" y="20"/>
                  <a:pt x="8" y="21"/>
                </a:cubicBezTo>
                <a:cubicBezTo>
                  <a:pt x="7" y="21"/>
                  <a:pt x="7" y="20"/>
                  <a:pt x="7" y="20"/>
                </a:cubicBezTo>
                <a:cubicBezTo>
                  <a:pt x="6" y="20"/>
                  <a:pt x="5" y="20"/>
                  <a:pt x="4" y="20"/>
                </a:cubicBezTo>
                <a:cubicBezTo>
                  <a:pt x="4" y="20"/>
                  <a:pt x="5" y="18"/>
                  <a:pt x="3" y="19"/>
                </a:cubicBezTo>
                <a:cubicBezTo>
                  <a:pt x="3" y="18"/>
                  <a:pt x="3" y="17"/>
                  <a:pt x="1" y="16"/>
                </a:cubicBezTo>
                <a:cubicBezTo>
                  <a:pt x="1" y="16"/>
                  <a:pt x="2" y="15"/>
                  <a:pt x="2" y="15"/>
                </a:cubicBezTo>
                <a:cubicBezTo>
                  <a:pt x="2" y="14"/>
                  <a:pt x="1" y="15"/>
                  <a:pt x="1" y="15"/>
                </a:cubicBezTo>
                <a:cubicBezTo>
                  <a:pt x="0" y="14"/>
                  <a:pt x="1" y="13"/>
                  <a:pt x="1" y="11"/>
                </a:cubicBezTo>
                <a:cubicBezTo>
                  <a:pt x="2" y="11"/>
                  <a:pt x="4" y="11"/>
                  <a:pt x="5" y="10"/>
                </a:cubicBezTo>
                <a:cubicBezTo>
                  <a:pt x="5" y="10"/>
                  <a:pt x="6" y="9"/>
                  <a:pt x="5" y="9"/>
                </a:cubicBezTo>
                <a:cubicBezTo>
                  <a:pt x="6" y="8"/>
                  <a:pt x="10" y="7"/>
                  <a:pt x="9" y="7"/>
                </a:cubicBezTo>
                <a:cubicBezTo>
                  <a:pt x="9" y="6"/>
                  <a:pt x="10" y="6"/>
                  <a:pt x="11" y="6"/>
                </a:cubicBezTo>
                <a:cubicBezTo>
                  <a:pt x="12" y="6"/>
                  <a:pt x="12" y="5"/>
                  <a:pt x="12" y="4"/>
                </a:cubicBezTo>
                <a:cubicBezTo>
                  <a:pt x="12" y="4"/>
                  <a:pt x="13" y="4"/>
                  <a:pt x="13" y="4"/>
                </a:cubicBezTo>
                <a:cubicBezTo>
                  <a:pt x="13" y="4"/>
                  <a:pt x="13" y="3"/>
                  <a:pt x="14" y="3"/>
                </a:cubicBezTo>
                <a:cubicBezTo>
                  <a:pt x="13" y="1"/>
                  <a:pt x="15" y="2"/>
                  <a:pt x="16" y="1"/>
                </a:cubicBezTo>
                <a:cubicBezTo>
                  <a:pt x="15" y="1"/>
                  <a:pt x="15" y="1"/>
                  <a:pt x="15"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39" name="Freeform 95"/>
          <p:cNvSpPr/>
          <p:nvPr/>
        </p:nvSpPr>
        <p:spPr bwMode="auto">
          <a:xfrm>
            <a:off x="6395707" y="3582987"/>
            <a:ext cx="88900" cy="98425"/>
          </a:xfrm>
          <a:custGeom>
            <a:avLst/>
            <a:gdLst>
              <a:gd name="T0" fmla="*/ 8 w 9"/>
              <a:gd name="T1" fmla="*/ 1 h 10"/>
              <a:gd name="T2" fmla="*/ 6 w 9"/>
              <a:gd name="T3" fmla="*/ 2 h 10"/>
              <a:gd name="T4" fmla="*/ 6 w 9"/>
              <a:gd name="T5" fmla="*/ 2 h 10"/>
              <a:gd name="T6" fmla="*/ 6 w 9"/>
              <a:gd name="T7" fmla="*/ 4 h 10"/>
              <a:gd name="T8" fmla="*/ 7 w 9"/>
              <a:gd name="T9" fmla="*/ 5 h 10"/>
              <a:gd name="T10" fmla="*/ 8 w 9"/>
              <a:gd name="T11" fmla="*/ 9 h 10"/>
              <a:gd name="T12" fmla="*/ 6 w 9"/>
              <a:gd name="T13" fmla="*/ 9 h 10"/>
              <a:gd name="T14" fmla="*/ 4 w 9"/>
              <a:gd name="T15" fmla="*/ 4 h 10"/>
              <a:gd name="T16" fmla="*/ 3 w 9"/>
              <a:gd name="T17" fmla="*/ 6 h 10"/>
              <a:gd name="T18" fmla="*/ 3 w 9"/>
              <a:gd name="T19" fmla="*/ 8 h 10"/>
              <a:gd name="T20" fmla="*/ 1 w 9"/>
              <a:gd name="T21" fmla="*/ 10 h 10"/>
              <a:gd name="T22" fmla="*/ 1 w 9"/>
              <a:gd name="T23" fmla="*/ 8 h 10"/>
              <a:gd name="T24" fmla="*/ 1 w 9"/>
              <a:gd name="T25" fmla="*/ 7 h 10"/>
              <a:gd name="T26" fmla="*/ 1 w 9"/>
              <a:gd name="T27" fmla="*/ 7 h 10"/>
              <a:gd name="T28" fmla="*/ 1 w 9"/>
              <a:gd name="T29" fmla="*/ 5 h 10"/>
              <a:gd name="T30" fmla="*/ 0 w 9"/>
              <a:gd name="T31" fmla="*/ 4 h 10"/>
              <a:gd name="T32" fmla="*/ 4 w 9"/>
              <a:gd name="T33" fmla="*/ 1 h 10"/>
              <a:gd name="T34" fmla="*/ 8 w 9"/>
              <a:gd name="T3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10">
                <a:moveTo>
                  <a:pt x="8" y="1"/>
                </a:moveTo>
                <a:cubicBezTo>
                  <a:pt x="9" y="3"/>
                  <a:pt x="6" y="2"/>
                  <a:pt x="6" y="2"/>
                </a:cubicBezTo>
                <a:cubicBezTo>
                  <a:pt x="7" y="3"/>
                  <a:pt x="6" y="3"/>
                  <a:pt x="6" y="2"/>
                </a:cubicBezTo>
                <a:cubicBezTo>
                  <a:pt x="6" y="3"/>
                  <a:pt x="6" y="3"/>
                  <a:pt x="6" y="4"/>
                </a:cubicBezTo>
                <a:cubicBezTo>
                  <a:pt x="6" y="4"/>
                  <a:pt x="7" y="5"/>
                  <a:pt x="7" y="5"/>
                </a:cubicBezTo>
                <a:cubicBezTo>
                  <a:pt x="8" y="6"/>
                  <a:pt x="7" y="8"/>
                  <a:pt x="8" y="9"/>
                </a:cubicBezTo>
                <a:cubicBezTo>
                  <a:pt x="7" y="9"/>
                  <a:pt x="7" y="9"/>
                  <a:pt x="6" y="9"/>
                </a:cubicBezTo>
                <a:cubicBezTo>
                  <a:pt x="5" y="7"/>
                  <a:pt x="5" y="6"/>
                  <a:pt x="4" y="4"/>
                </a:cubicBezTo>
                <a:cubicBezTo>
                  <a:pt x="4" y="4"/>
                  <a:pt x="4" y="6"/>
                  <a:pt x="3" y="6"/>
                </a:cubicBezTo>
                <a:cubicBezTo>
                  <a:pt x="3" y="7"/>
                  <a:pt x="3" y="8"/>
                  <a:pt x="3" y="8"/>
                </a:cubicBezTo>
                <a:cubicBezTo>
                  <a:pt x="3" y="10"/>
                  <a:pt x="1" y="9"/>
                  <a:pt x="1" y="10"/>
                </a:cubicBezTo>
                <a:cubicBezTo>
                  <a:pt x="1" y="10"/>
                  <a:pt x="1" y="8"/>
                  <a:pt x="1" y="8"/>
                </a:cubicBezTo>
                <a:cubicBezTo>
                  <a:pt x="1" y="7"/>
                  <a:pt x="1" y="7"/>
                  <a:pt x="1" y="7"/>
                </a:cubicBezTo>
                <a:cubicBezTo>
                  <a:pt x="1" y="7"/>
                  <a:pt x="1" y="7"/>
                  <a:pt x="1" y="7"/>
                </a:cubicBezTo>
                <a:cubicBezTo>
                  <a:pt x="1" y="6"/>
                  <a:pt x="2" y="6"/>
                  <a:pt x="1" y="5"/>
                </a:cubicBezTo>
                <a:cubicBezTo>
                  <a:pt x="1" y="4"/>
                  <a:pt x="1" y="4"/>
                  <a:pt x="0" y="4"/>
                </a:cubicBezTo>
                <a:cubicBezTo>
                  <a:pt x="1" y="2"/>
                  <a:pt x="2" y="0"/>
                  <a:pt x="4" y="1"/>
                </a:cubicBezTo>
                <a:cubicBezTo>
                  <a:pt x="2" y="2"/>
                  <a:pt x="7" y="1"/>
                  <a:pt x="8"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0" name="Freeform 96"/>
          <p:cNvSpPr/>
          <p:nvPr/>
        </p:nvSpPr>
        <p:spPr bwMode="auto">
          <a:xfrm>
            <a:off x="6149644" y="3681412"/>
            <a:ext cx="187325" cy="60325"/>
          </a:xfrm>
          <a:custGeom>
            <a:avLst/>
            <a:gdLst>
              <a:gd name="T0" fmla="*/ 0 w 19"/>
              <a:gd name="T1" fmla="*/ 2 h 6"/>
              <a:gd name="T2" fmla="*/ 2 w 19"/>
              <a:gd name="T3" fmla="*/ 0 h 6"/>
              <a:gd name="T4" fmla="*/ 3 w 19"/>
              <a:gd name="T5" fmla="*/ 1 h 6"/>
              <a:gd name="T6" fmla="*/ 4 w 19"/>
              <a:gd name="T7" fmla="*/ 2 h 6"/>
              <a:gd name="T8" fmla="*/ 8 w 19"/>
              <a:gd name="T9" fmla="*/ 3 h 6"/>
              <a:gd name="T10" fmla="*/ 13 w 19"/>
              <a:gd name="T11" fmla="*/ 2 h 6"/>
              <a:gd name="T12" fmla="*/ 14 w 19"/>
              <a:gd name="T13" fmla="*/ 3 h 6"/>
              <a:gd name="T14" fmla="*/ 15 w 19"/>
              <a:gd name="T15" fmla="*/ 4 h 6"/>
              <a:gd name="T16" fmla="*/ 18 w 19"/>
              <a:gd name="T17" fmla="*/ 4 h 6"/>
              <a:gd name="T18" fmla="*/ 18 w 19"/>
              <a:gd name="T19" fmla="*/ 5 h 6"/>
              <a:gd name="T20" fmla="*/ 17 w 19"/>
              <a:gd name="T21" fmla="*/ 5 h 6"/>
              <a:gd name="T22" fmla="*/ 8 w 19"/>
              <a:gd name="T23" fmla="*/ 4 h 6"/>
              <a:gd name="T24" fmla="*/ 6 w 19"/>
              <a:gd name="T25" fmla="*/ 4 h 6"/>
              <a:gd name="T26" fmla="*/ 2 w 19"/>
              <a:gd name="T27" fmla="*/ 3 h 6"/>
              <a:gd name="T28" fmla="*/ 0 w 19"/>
              <a:gd name="T2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6">
                <a:moveTo>
                  <a:pt x="0" y="2"/>
                </a:moveTo>
                <a:cubicBezTo>
                  <a:pt x="0" y="0"/>
                  <a:pt x="2" y="1"/>
                  <a:pt x="2" y="0"/>
                </a:cubicBezTo>
                <a:cubicBezTo>
                  <a:pt x="3" y="0"/>
                  <a:pt x="3" y="1"/>
                  <a:pt x="3" y="1"/>
                </a:cubicBezTo>
                <a:cubicBezTo>
                  <a:pt x="3" y="2"/>
                  <a:pt x="4" y="1"/>
                  <a:pt x="4" y="2"/>
                </a:cubicBezTo>
                <a:cubicBezTo>
                  <a:pt x="6" y="1"/>
                  <a:pt x="7" y="1"/>
                  <a:pt x="8" y="3"/>
                </a:cubicBezTo>
                <a:cubicBezTo>
                  <a:pt x="10" y="2"/>
                  <a:pt x="11" y="2"/>
                  <a:pt x="13" y="2"/>
                </a:cubicBezTo>
                <a:cubicBezTo>
                  <a:pt x="14" y="2"/>
                  <a:pt x="14" y="3"/>
                  <a:pt x="14" y="3"/>
                </a:cubicBezTo>
                <a:cubicBezTo>
                  <a:pt x="15" y="3"/>
                  <a:pt x="15" y="3"/>
                  <a:pt x="15" y="4"/>
                </a:cubicBezTo>
                <a:cubicBezTo>
                  <a:pt x="17" y="3"/>
                  <a:pt x="18" y="5"/>
                  <a:pt x="18" y="4"/>
                </a:cubicBezTo>
                <a:cubicBezTo>
                  <a:pt x="19" y="4"/>
                  <a:pt x="17" y="5"/>
                  <a:pt x="18" y="5"/>
                </a:cubicBezTo>
                <a:cubicBezTo>
                  <a:pt x="18" y="6"/>
                  <a:pt x="18" y="5"/>
                  <a:pt x="17" y="5"/>
                </a:cubicBezTo>
                <a:cubicBezTo>
                  <a:pt x="14" y="6"/>
                  <a:pt x="11" y="4"/>
                  <a:pt x="8" y="4"/>
                </a:cubicBezTo>
                <a:cubicBezTo>
                  <a:pt x="7" y="3"/>
                  <a:pt x="6" y="4"/>
                  <a:pt x="6" y="4"/>
                </a:cubicBezTo>
                <a:cubicBezTo>
                  <a:pt x="5" y="3"/>
                  <a:pt x="4" y="3"/>
                  <a:pt x="2" y="3"/>
                </a:cubicBezTo>
                <a:cubicBezTo>
                  <a:pt x="2" y="2"/>
                  <a:pt x="0" y="3"/>
                  <a:pt x="0"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1" name="Freeform 97"/>
          <p:cNvSpPr/>
          <p:nvPr/>
        </p:nvSpPr>
        <p:spPr bwMode="auto">
          <a:xfrm>
            <a:off x="6406819" y="3751262"/>
            <a:ext cx="28575" cy="9525"/>
          </a:xfrm>
          <a:custGeom>
            <a:avLst/>
            <a:gdLst>
              <a:gd name="T0" fmla="*/ 1 w 3"/>
              <a:gd name="T1" fmla="*/ 0 h 1"/>
              <a:gd name="T2" fmla="*/ 3 w 3"/>
              <a:gd name="T3" fmla="*/ 1 h 1"/>
              <a:gd name="T4" fmla="*/ 1 w 3"/>
              <a:gd name="T5" fmla="*/ 1 h 1"/>
              <a:gd name="T6" fmla="*/ 1 w 3"/>
              <a:gd name="T7" fmla="*/ 0 h 1"/>
              <a:gd name="T8" fmla="*/ 1 w 3"/>
              <a:gd name="T9" fmla="*/ 0 h 1"/>
            </a:gdLst>
            <a:ahLst/>
            <a:cxnLst>
              <a:cxn ang="0">
                <a:pos x="T0" y="T1"/>
              </a:cxn>
              <a:cxn ang="0">
                <a:pos x="T2" y="T3"/>
              </a:cxn>
              <a:cxn ang="0">
                <a:pos x="T4" y="T5"/>
              </a:cxn>
              <a:cxn ang="0">
                <a:pos x="T6" y="T7"/>
              </a:cxn>
              <a:cxn ang="0">
                <a:pos x="T8" y="T9"/>
              </a:cxn>
            </a:cxnLst>
            <a:rect l="0" t="0" r="r" b="b"/>
            <a:pathLst>
              <a:path w="3" h="1">
                <a:moveTo>
                  <a:pt x="1" y="0"/>
                </a:moveTo>
                <a:cubicBezTo>
                  <a:pt x="2" y="0"/>
                  <a:pt x="3" y="0"/>
                  <a:pt x="3" y="1"/>
                </a:cubicBezTo>
                <a:cubicBezTo>
                  <a:pt x="2" y="1"/>
                  <a:pt x="2" y="1"/>
                  <a:pt x="1" y="1"/>
                </a:cubicBezTo>
                <a:cubicBezTo>
                  <a:pt x="1" y="0"/>
                  <a:pt x="1" y="1"/>
                  <a:pt x="1" y="0"/>
                </a:cubicBezTo>
                <a:cubicBezTo>
                  <a:pt x="0" y="0"/>
                  <a:pt x="1" y="0"/>
                  <a:pt x="1"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2" name="Freeform 98"/>
          <p:cNvSpPr/>
          <p:nvPr/>
        </p:nvSpPr>
        <p:spPr bwMode="auto">
          <a:xfrm>
            <a:off x="7286294" y="4386262"/>
            <a:ext cx="147638" cy="139700"/>
          </a:xfrm>
          <a:custGeom>
            <a:avLst/>
            <a:gdLst>
              <a:gd name="T0" fmla="*/ 0 w 15"/>
              <a:gd name="T1" fmla="*/ 12 h 14"/>
              <a:gd name="T2" fmla="*/ 1 w 15"/>
              <a:gd name="T3" fmla="*/ 11 h 14"/>
              <a:gd name="T4" fmla="*/ 2 w 15"/>
              <a:gd name="T5" fmla="*/ 10 h 14"/>
              <a:gd name="T6" fmla="*/ 2 w 15"/>
              <a:gd name="T7" fmla="*/ 9 h 14"/>
              <a:gd name="T8" fmla="*/ 3 w 15"/>
              <a:gd name="T9" fmla="*/ 9 h 14"/>
              <a:gd name="T10" fmla="*/ 4 w 15"/>
              <a:gd name="T11" fmla="*/ 8 h 14"/>
              <a:gd name="T12" fmla="*/ 5 w 15"/>
              <a:gd name="T13" fmla="*/ 8 h 14"/>
              <a:gd name="T14" fmla="*/ 6 w 15"/>
              <a:gd name="T15" fmla="*/ 7 h 14"/>
              <a:gd name="T16" fmla="*/ 7 w 15"/>
              <a:gd name="T17" fmla="*/ 5 h 14"/>
              <a:gd name="T18" fmla="*/ 8 w 15"/>
              <a:gd name="T19" fmla="*/ 4 h 14"/>
              <a:gd name="T20" fmla="*/ 10 w 15"/>
              <a:gd name="T21" fmla="*/ 5 h 14"/>
              <a:gd name="T22" fmla="*/ 9 w 15"/>
              <a:gd name="T23" fmla="*/ 3 h 14"/>
              <a:gd name="T24" fmla="*/ 11 w 15"/>
              <a:gd name="T25" fmla="*/ 1 h 14"/>
              <a:gd name="T26" fmla="*/ 12 w 15"/>
              <a:gd name="T27" fmla="*/ 0 h 14"/>
              <a:gd name="T28" fmla="*/ 14 w 15"/>
              <a:gd name="T29" fmla="*/ 1 h 14"/>
              <a:gd name="T30" fmla="*/ 14 w 15"/>
              <a:gd name="T31" fmla="*/ 3 h 14"/>
              <a:gd name="T32" fmla="*/ 14 w 15"/>
              <a:gd name="T33" fmla="*/ 4 h 14"/>
              <a:gd name="T34" fmla="*/ 13 w 15"/>
              <a:gd name="T35" fmla="*/ 4 h 14"/>
              <a:gd name="T36" fmla="*/ 12 w 15"/>
              <a:gd name="T37" fmla="*/ 7 h 14"/>
              <a:gd name="T38" fmla="*/ 11 w 15"/>
              <a:gd name="T39" fmla="*/ 7 h 14"/>
              <a:gd name="T40" fmla="*/ 9 w 15"/>
              <a:gd name="T41" fmla="*/ 11 h 14"/>
              <a:gd name="T42" fmla="*/ 8 w 15"/>
              <a:gd name="T43" fmla="*/ 12 h 14"/>
              <a:gd name="T44" fmla="*/ 7 w 15"/>
              <a:gd name="T45" fmla="*/ 13 h 14"/>
              <a:gd name="T46" fmla="*/ 4 w 15"/>
              <a:gd name="T47" fmla="*/ 12 h 14"/>
              <a:gd name="T48" fmla="*/ 2 w 15"/>
              <a:gd name="T49" fmla="*/ 12 h 14"/>
              <a:gd name="T50" fmla="*/ 1 w 15"/>
              <a:gd name="T51" fmla="*/ 11 h 14"/>
              <a:gd name="T52" fmla="*/ 0 w 15"/>
              <a:gd name="T5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 h="14">
                <a:moveTo>
                  <a:pt x="0" y="12"/>
                </a:moveTo>
                <a:cubicBezTo>
                  <a:pt x="0" y="12"/>
                  <a:pt x="1" y="11"/>
                  <a:pt x="1" y="11"/>
                </a:cubicBezTo>
                <a:cubicBezTo>
                  <a:pt x="1" y="10"/>
                  <a:pt x="2" y="10"/>
                  <a:pt x="2" y="10"/>
                </a:cubicBezTo>
                <a:cubicBezTo>
                  <a:pt x="2" y="10"/>
                  <a:pt x="2" y="9"/>
                  <a:pt x="2" y="9"/>
                </a:cubicBezTo>
                <a:cubicBezTo>
                  <a:pt x="2" y="9"/>
                  <a:pt x="3" y="9"/>
                  <a:pt x="3" y="9"/>
                </a:cubicBezTo>
                <a:cubicBezTo>
                  <a:pt x="3" y="9"/>
                  <a:pt x="3" y="8"/>
                  <a:pt x="4" y="8"/>
                </a:cubicBezTo>
                <a:cubicBezTo>
                  <a:pt x="4" y="8"/>
                  <a:pt x="5" y="8"/>
                  <a:pt x="5" y="8"/>
                </a:cubicBezTo>
                <a:cubicBezTo>
                  <a:pt x="6" y="7"/>
                  <a:pt x="5" y="7"/>
                  <a:pt x="6" y="7"/>
                </a:cubicBezTo>
                <a:cubicBezTo>
                  <a:pt x="7" y="7"/>
                  <a:pt x="7" y="6"/>
                  <a:pt x="7" y="5"/>
                </a:cubicBezTo>
                <a:cubicBezTo>
                  <a:pt x="7" y="5"/>
                  <a:pt x="9" y="7"/>
                  <a:pt x="8" y="4"/>
                </a:cubicBezTo>
                <a:cubicBezTo>
                  <a:pt x="9" y="4"/>
                  <a:pt x="9" y="5"/>
                  <a:pt x="10" y="5"/>
                </a:cubicBezTo>
                <a:cubicBezTo>
                  <a:pt x="10" y="4"/>
                  <a:pt x="9" y="4"/>
                  <a:pt x="9" y="3"/>
                </a:cubicBezTo>
                <a:cubicBezTo>
                  <a:pt x="11" y="3"/>
                  <a:pt x="11" y="1"/>
                  <a:pt x="11" y="1"/>
                </a:cubicBezTo>
                <a:cubicBezTo>
                  <a:pt x="11" y="0"/>
                  <a:pt x="13" y="1"/>
                  <a:pt x="12" y="0"/>
                </a:cubicBezTo>
                <a:cubicBezTo>
                  <a:pt x="13" y="0"/>
                  <a:pt x="13" y="1"/>
                  <a:pt x="14" y="1"/>
                </a:cubicBezTo>
                <a:cubicBezTo>
                  <a:pt x="14" y="2"/>
                  <a:pt x="15" y="2"/>
                  <a:pt x="14" y="3"/>
                </a:cubicBezTo>
                <a:cubicBezTo>
                  <a:pt x="14" y="3"/>
                  <a:pt x="14" y="4"/>
                  <a:pt x="14" y="4"/>
                </a:cubicBezTo>
                <a:cubicBezTo>
                  <a:pt x="14" y="5"/>
                  <a:pt x="13" y="4"/>
                  <a:pt x="13" y="4"/>
                </a:cubicBezTo>
                <a:cubicBezTo>
                  <a:pt x="13" y="5"/>
                  <a:pt x="13" y="6"/>
                  <a:pt x="12" y="7"/>
                </a:cubicBezTo>
                <a:cubicBezTo>
                  <a:pt x="12" y="8"/>
                  <a:pt x="12" y="6"/>
                  <a:pt x="11" y="7"/>
                </a:cubicBezTo>
                <a:cubicBezTo>
                  <a:pt x="9" y="8"/>
                  <a:pt x="10" y="9"/>
                  <a:pt x="9" y="11"/>
                </a:cubicBezTo>
                <a:cubicBezTo>
                  <a:pt x="9" y="11"/>
                  <a:pt x="8" y="11"/>
                  <a:pt x="8" y="12"/>
                </a:cubicBezTo>
                <a:cubicBezTo>
                  <a:pt x="7" y="12"/>
                  <a:pt x="7" y="13"/>
                  <a:pt x="7" y="13"/>
                </a:cubicBezTo>
                <a:cubicBezTo>
                  <a:pt x="6" y="12"/>
                  <a:pt x="4" y="14"/>
                  <a:pt x="4" y="12"/>
                </a:cubicBezTo>
                <a:cubicBezTo>
                  <a:pt x="3" y="12"/>
                  <a:pt x="2" y="13"/>
                  <a:pt x="2" y="12"/>
                </a:cubicBezTo>
                <a:cubicBezTo>
                  <a:pt x="2" y="12"/>
                  <a:pt x="1" y="11"/>
                  <a:pt x="1" y="11"/>
                </a:cubicBezTo>
                <a:cubicBezTo>
                  <a:pt x="0" y="12"/>
                  <a:pt x="2" y="13"/>
                  <a:pt x="0" y="1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3" name="Freeform 99"/>
          <p:cNvSpPr/>
          <p:nvPr/>
        </p:nvSpPr>
        <p:spPr bwMode="auto">
          <a:xfrm>
            <a:off x="2353932" y="1527175"/>
            <a:ext cx="198438" cy="158750"/>
          </a:xfrm>
          <a:custGeom>
            <a:avLst/>
            <a:gdLst>
              <a:gd name="T0" fmla="*/ 5 w 20"/>
              <a:gd name="T1" fmla="*/ 0 h 16"/>
              <a:gd name="T2" fmla="*/ 8 w 20"/>
              <a:gd name="T3" fmla="*/ 2 h 16"/>
              <a:gd name="T4" fmla="*/ 9 w 20"/>
              <a:gd name="T5" fmla="*/ 3 h 16"/>
              <a:gd name="T6" fmla="*/ 10 w 20"/>
              <a:gd name="T7" fmla="*/ 3 h 16"/>
              <a:gd name="T8" fmla="*/ 10 w 20"/>
              <a:gd name="T9" fmla="*/ 3 h 16"/>
              <a:gd name="T10" fmla="*/ 12 w 20"/>
              <a:gd name="T11" fmla="*/ 4 h 16"/>
              <a:gd name="T12" fmla="*/ 13 w 20"/>
              <a:gd name="T13" fmla="*/ 4 h 16"/>
              <a:gd name="T14" fmla="*/ 16 w 20"/>
              <a:gd name="T15" fmla="*/ 5 h 16"/>
              <a:gd name="T16" fmla="*/ 16 w 20"/>
              <a:gd name="T17" fmla="*/ 6 h 16"/>
              <a:gd name="T18" fmla="*/ 17 w 20"/>
              <a:gd name="T19" fmla="*/ 6 h 16"/>
              <a:gd name="T20" fmla="*/ 17 w 20"/>
              <a:gd name="T21" fmla="*/ 7 h 16"/>
              <a:gd name="T22" fmla="*/ 20 w 20"/>
              <a:gd name="T23" fmla="*/ 9 h 16"/>
              <a:gd name="T24" fmla="*/ 20 w 20"/>
              <a:gd name="T25" fmla="*/ 11 h 16"/>
              <a:gd name="T26" fmla="*/ 19 w 20"/>
              <a:gd name="T27" fmla="*/ 10 h 16"/>
              <a:gd name="T28" fmla="*/ 16 w 20"/>
              <a:gd name="T29" fmla="*/ 12 h 16"/>
              <a:gd name="T30" fmla="*/ 16 w 20"/>
              <a:gd name="T31" fmla="*/ 12 h 16"/>
              <a:gd name="T32" fmla="*/ 15 w 20"/>
              <a:gd name="T33" fmla="*/ 13 h 16"/>
              <a:gd name="T34" fmla="*/ 12 w 20"/>
              <a:gd name="T35" fmla="*/ 13 h 16"/>
              <a:gd name="T36" fmla="*/ 12 w 20"/>
              <a:gd name="T37" fmla="*/ 14 h 16"/>
              <a:gd name="T38" fmla="*/ 10 w 20"/>
              <a:gd name="T39" fmla="*/ 14 h 16"/>
              <a:gd name="T40" fmla="*/ 10 w 20"/>
              <a:gd name="T41" fmla="*/ 13 h 16"/>
              <a:gd name="T42" fmla="*/ 7 w 20"/>
              <a:gd name="T43" fmla="*/ 13 h 16"/>
              <a:gd name="T44" fmla="*/ 6 w 20"/>
              <a:gd name="T45" fmla="*/ 12 h 16"/>
              <a:gd name="T46" fmla="*/ 8 w 20"/>
              <a:gd name="T47" fmla="*/ 12 h 16"/>
              <a:gd name="T48" fmla="*/ 5 w 20"/>
              <a:gd name="T49" fmla="*/ 11 h 16"/>
              <a:gd name="T50" fmla="*/ 7 w 20"/>
              <a:gd name="T51" fmla="*/ 10 h 16"/>
              <a:gd name="T52" fmla="*/ 8 w 20"/>
              <a:gd name="T53" fmla="*/ 9 h 16"/>
              <a:gd name="T54" fmla="*/ 9 w 20"/>
              <a:gd name="T55" fmla="*/ 10 h 16"/>
              <a:gd name="T56" fmla="*/ 8 w 20"/>
              <a:gd name="T57" fmla="*/ 8 h 16"/>
              <a:gd name="T58" fmla="*/ 4 w 20"/>
              <a:gd name="T59" fmla="*/ 9 h 16"/>
              <a:gd name="T60" fmla="*/ 3 w 20"/>
              <a:gd name="T61" fmla="*/ 9 h 16"/>
              <a:gd name="T62" fmla="*/ 2 w 20"/>
              <a:gd name="T63" fmla="*/ 8 h 16"/>
              <a:gd name="T64" fmla="*/ 0 w 20"/>
              <a:gd name="T65" fmla="*/ 7 h 16"/>
              <a:gd name="T66" fmla="*/ 0 w 20"/>
              <a:gd name="T67" fmla="*/ 5 h 16"/>
              <a:gd name="T68" fmla="*/ 1 w 20"/>
              <a:gd name="T69" fmla="*/ 5 h 16"/>
              <a:gd name="T70" fmla="*/ 2 w 20"/>
              <a:gd name="T71" fmla="*/ 4 h 16"/>
              <a:gd name="T72" fmla="*/ 2 w 20"/>
              <a:gd name="T73" fmla="*/ 2 h 16"/>
              <a:gd name="T74" fmla="*/ 3 w 20"/>
              <a:gd name="T75" fmla="*/ 2 h 16"/>
              <a:gd name="T76" fmla="*/ 4 w 20"/>
              <a:gd name="T77" fmla="*/ 1 h 16"/>
              <a:gd name="T78" fmla="*/ 5 w 20"/>
              <a:gd name="T7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16">
                <a:moveTo>
                  <a:pt x="5" y="0"/>
                </a:moveTo>
                <a:cubicBezTo>
                  <a:pt x="6" y="1"/>
                  <a:pt x="7" y="1"/>
                  <a:pt x="8" y="2"/>
                </a:cubicBezTo>
                <a:cubicBezTo>
                  <a:pt x="8" y="2"/>
                  <a:pt x="9" y="3"/>
                  <a:pt x="9" y="3"/>
                </a:cubicBezTo>
                <a:cubicBezTo>
                  <a:pt x="9" y="3"/>
                  <a:pt x="10" y="3"/>
                  <a:pt x="10" y="3"/>
                </a:cubicBezTo>
                <a:cubicBezTo>
                  <a:pt x="10" y="3"/>
                  <a:pt x="10" y="3"/>
                  <a:pt x="10" y="3"/>
                </a:cubicBezTo>
                <a:cubicBezTo>
                  <a:pt x="11" y="2"/>
                  <a:pt x="11" y="4"/>
                  <a:pt x="12" y="4"/>
                </a:cubicBezTo>
                <a:cubicBezTo>
                  <a:pt x="12" y="4"/>
                  <a:pt x="13" y="4"/>
                  <a:pt x="13" y="4"/>
                </a:cubicBezTo>
                <a:cubicBezTo>
                  <a:pt x="13" y="4"/>
                  <a:pt x="14" y="6"/>
                  <a:pt x="16" y="5"/>
                </a:cubicBezTo>
                <a:cubicBezTo>
                  <a:pt x="16" y="5"/>
                  <a:pt x="16" y="6"/>
                  <a:pt x="16" y="6"/>
                </a:cubicBezTo>
                <a:cubicBezTo>
                  <a:pt x="16" y="7"/>
                  <a:pt x="17" y="6"/>
                  <a:pt x="17" y="6"/>
                </a:cubicBezTo>
                <a:cubicBezTo>
                  <a:pt x="17" y="7"/>
                  <a:pt x="17" y="7"/>
                  <a:pt x="17" y="7"/>
                </a:cubicBezTo>
                <a:cubicBezTo>
                  <a:pt x="18" y="8"/>
                  <a:pt x="19" y="8"/>
                  <a:pt x="20" y="9"/>
                </a:cubicBezTo>
                <a:cubicBezTo>
                  <a:pt x="20" y="10"/>
                  <a:pt x="20" y="11"/>
                  <a:pt x="20" y="11"/>
                </a:cubicBezTo>
                <a:cubicBezTo>
                  <a:pt x="19" y="11"/>
                  <a:pt x="19" y="10"/>
                  <a:pt x="19" y="10"/>
                </a:cubicBezTo>
                <a:cubicBezTo>
                  <a:pt x="18" y="11"/>
                  <a:pt x="17" y="11"/>
                  <a:pt x="16" y="12"/>
                </a:cubicBezTo>
                <a:cubicBezTo>
                  <a:pt x="16" y="12"/>
                  <a:pt x="16" y="12"/>
                  <a:pt x="16" y="12"/>
                </a:cubicBezTo>
                <a:cubicBezTo>
                  <a:pt x="15" y="12"/>
                  <a:pt x="15" y="13"/>
                  <a:pt x="15" y="13"/>
                </a:cubicBezTo>
                <a:cubicBezTo>
                  <a:pt x="13" y="14"/>
                  <a:pt x="13" y="12"/>
                  <a:pt x="12" y="13"/>
                </a:cubicBezTo>
                <a:cubicBezTo>
                  <a:pt x="12" y="14"/>
                  <a:pt x="12" y="14"/>
                  <a:pt x="12" y="14"/>
                </a:cubicBezTo>
                <a:cubicBezTo>
                  <a:pt x="12" y="16"/>
                  <a:pt x="10" y="13"/>
                  <a:pt x="10" y="14"/>
                </a:cubicBezTo>
                <a:cubicBezTo>
                  <a:pt x="10" y="14"/>
                  <a:pt x="10" y="14"/>
                  <a:pt x="10" y="13"/>
                </a:cubicBezTo>
                <a:cubicBezTo>
                  <a:pt x="9" y="14"/>
                  <a:pt x="8" y="13"/>
                  <a:pt x="7" y="13"/>
                </a:cubicBezTo>
                <a:cubicBezTo>
                  <a:pt x="7" y="13"/>
                  <a:pt x="7" y="13"/>
                  <a:pt x="6" y="12"/>
                </a:cubicBezTo>
                <a:cubicBezTo>
                  <a:pt x="6" y="12"/>
                  <a:pt x="7" y="12"/>
                  <a:pt x="8" y="12"/>
                </a:cubicBezTo>
                <a:cubicBezTo>
                  <a:pt x="8" y="11"/>
                  <a:pt x="6" y="11"/>
                  <a:pt x="5" y="11"/>
                </a:cubicBezTo>
                <a:cubicBezTo>
                  <a:pt x="5" y="10"/>
                  <a:pt x="6" y="10"/>
                  <a:pt x="7" y="10"/>
                </a:cubicBezTo>
                <a:cubicBezTo>
                  <a:pt x="7" y="10"/>
                  <a:pt x="7" y="9"/>
                  <a:pt x="8" y="9"/>
                </a:cubicBezTo>
                <a:cubicBezTo>
                  <a:pt x="8" y="9"/>
                  <a:pt x="8" y="10"/>
                  <a:pt x="9" y="10"/>
                </a:cubicBezTo>
                <a:cubicBezTo>
                  <a:pt x="9" y="9"/>
                  <a:pt x="8" y="9"/>
                  <a:pt x="8" y="8"/>
                </a:cubicBezTo>
                <a:cubicBezTo>
                  <a:pt x="8" y="9"/>
                  <a:pt x="5" y="8"/>
                  <a:pt x="4" y="9"/>
                </a:cubicBezTo>
                <a:cubicBezTo>
                  <a:pt x="3" y="10"/>
                  <a:pt x="4" y="9"/>
                  <a:pt x="3" y="9"/>
                </a:cubicBezTo>
                <a:cubicBezTo>
                  <a:pt x="1" y="8"/>
                  <a:pt x="0" y="9"/>
                  <a:pt x="2" y="8"/>
                </a:cubicBezTo>
                <a:cubicBezTo>
                  <a:pt x="2" y="7"/>
                  <a:pt x="0" y="8"/>
                  <a:pt x="0" y="7"/>
                </a:cubicBezTo>
                <a:cubicBezTo>
                  <a:pt x="1" y="6"/>
                  <a:pt x="2" y="5"/>
                  <a:pt x="0" y="5"/>
                </a:cubicBezTo>
                <a:cubicBezTo>
                  <a:pt x="0" y="5"/>
                  <a:pt x="0" y="5"/>
                  <a:pt x="1" y="5"/>
                </a:cubicBezTo>
                <a:cubicBezTo>
                  <a:pt x="1" y="4"/>
                  <a:pt x="1" y="4"/>
                  <a:pt x="2" y="4"/>
                </a:cubicBezTo>
                <a:cubicBezTo>
                  <a:pt x="3" y="4"/>
                  <a:pt x="2" y="3"/>
                  <a:pt x="2" y="2"/>
                </a:cubicBezTo>
                <a:cubicBezTo>
                  <a:pt x="2" y="2"/>
                  <a:pt x="3" y="2"/>
                  <a:pt x="3" y="2"/>
                </a:cubicBezTo>
                <a:cubicBezTo>
                  <a:pt x="4" y="2"/>
                  <a:pt x="4" y="1"/>
                  <a:pt x="4" y="1"/>
                </a:cubicBezTo>
                <a:cubicBezTo>
                  <a:pt x="4" y="1"/>
                  <a:pt x="5" y="1"/>
                  <a:pt x="5"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4" name="Freeform 100"/>
          <p:cNvSpPr/>
          <p:nvPr/>
        </p:nvSpPr>
        <p:spPr bwMode="auto">
          <a:xfrm>
            <a:off x="4360532" y="1585913"/>
            <a:ext cx="276225" cy="139700"/>
          </a:xfrm>
          <a:custGeom>
            <a:avLst/>
            <a:gdLst>
              <a:gd name="T0" fmla="*/ 10 w 28"/>
              <a:gd name="T1" fmla="*/ 9 h 14"/>
              <a:gd name="T2" fmla="*/ 9 w 28"/>
              <a:gd name="T3" fmla="*/ 10 h 14"/>
              <a:gd name="T4" fmla="*/ 7 w 28"/>
              <a:gd name="T5" fmla="*/ 9 h 14"/>
              <a:gd name="T6" fmla="*/ 8 w 28"/>
              <a:gd name="T7" fmla="*/ 8 h 14"/>
              <a:gd name="T8" fmla="*/ 11 w 28"/>
              <a:gd name="T9" fmla="*/ 6 h 14"/>
              <a:gd name="T10" fmla="*/ 10 w 28"/>
              <a:gd name="T11" fmla="*/ 5 h 14"/>
              <a:gd name="T12" fmla="*/ 7 w 28"/>
              <a:gd name="T13" fmla="*/ 5 h 14"/>
              <a:gd name="T14" fmla="*/ 5 w 28"/>
              <a:gd name="T15" fmla="*/ 7 h 14"/>
              <a:gd name="T16" fmla="*/ 2 w 28"/>
              <a:gd name="T17" fmla="*/ 6 h 14"/>
              <a:gd name="T18" fmla="*/ 2 w 28"/>
              <a:gd name="T19" fmla="*/ 3 h 14"/>
              <a:gd name="T20" fmla="*/ 1 w 28"/>
              <a:gd name="T21" fmla="*/ 4 h 14"/>
              <a:gd name="T22" fmla="*/ 1 w 28"/>
              <a:gd name="T23" fmla="*/ 1 h 14"/>
              <a:gd name="T24" fmla="*/ 2 w 28"/>
              <a:gd name="T25" fmla="*/ 2 h 14"/>
              <a:gd name="T26" fmla="*/ 5 w 28"/>
              <a:gd name="T27" fmla="*/ 1 h 14"/>
              <a:gd name="T28" fmla="*/ 5 w 28"/>
              <a:gd name="T29" fmla="*/ 2 h 14"/>
              <a:gd name="T30" fmla="*/ 9 w 28"/>
              <a:gd name="T31" fmla="*/ 3 h 14"/>
              <a:gd name="T32" fmla="*/ 10 w 28"/>
              <a:gd name="T33" fmla="*/ 1 h 14"/>
              <a:gd name="T34" fmla="*/ 15 w 28"/>
              <a:gd name="T35" fmla="*/ 1 h 14"/>
              <a:gd name="T36" fmla="*/ 15 w 28"/>
              <a:gd name="T37" fmla="*/ 1 h 14"/>
              <a:gd name="T38" fmla="*/ 17 w 28"/>
              <a:gd name="T39" fmla="*/ 3 h 14"/>
              <a:gd name="T40" fmla="*/ 17 w 28"/>
              <a:gd name="T41" fmla="*/ 4 h 14"/>
              <a:gd name="T42" fmla="*/ 19 w 28"/>
              <a:gd name="T43" fmla="*/ 3 h 14"/>
              <a:gd name="T44" fmla="*/ 22 w 28"/>
              <a:gd name="T45" fmla="*/ 4 h 14"/>
              <a:gd name="T46" fmla="*/ 22 w 28"/>
              <a:gd name="T47" fmla="*/ 5 h 14"/>
              <a:gd name="T48" fmla="*/ 23 w 28"/>
              <a:gd name="T49" fmla="*/ 6 h 14"/>
              <a:gd name="T50" fmla="*/ 23 w 28"/>
              <a:gd name="T51" fmla="*/ 6 h 14"/>
              <a:gd name="T52" fmla="*/ 24 w 28"/>
              <a:gd name="T53" fmla="*/ 6 h 14"/>
              <a:gd name="T54" fmla="*/ 24 w 28"/>
              <a:gd name="T55" fmla="*/ 7 h 14"/>
              <a:gd name="T56" fmla="*/ 25 w 28"/>
              <a:gd name="T57" fmla="*/ 7 h 14"/>
              <a:gd name="T58" fmla="*/ 26 w 28"/>
              <a:gd name="T59" fmla="*/ 9 h 14"/>
              <a:gd name="T60" fmla="*/ 27 w 28"/>
              <a:gd name="T61" fmla="*/ 9 h 14"/>
              <a:gd name="T62" fmla="*/ 26 w 28"/>
              <a:gd name="T63" fmla="*/ 10 h 14"/>
              <a:gd name="T64" fmla="*/ 26 w 28"/>
              <a:gd name="T65" fmla="*/ 10 h 14"/>
              <a:gd name="T66" fmla="*/ 21 w 28"/>
              <a:gd name="T67" fmla="*/ 10 h 14"/>
              <a:gd name="T68" fmla="*/ 21 w 28"/>
              <a:gd name="T69" fmla="*/ 7 h 14"/>
              <a:gd name="T70" fmla="*/ 16 w 28"/>
              <a:gd name="T71" fmla="*/ 7 h 14"/>
              <a:gd name="T72" fmla="*/ 16 w 28"/>
              <a:gd name="T73" fmla="*/ 8 h 14"/>
              <a:gd name="T74" fmla="*/ 15 w 28"/>
              <a:gd name="T75" fmla="*/ 8 h 14"/>
              <a:gd name="T76" fmla="*/ 14 w 28"/>
              <a:gd name="T77" fmla="*/ 9 h 14"/>
              <a:gd name="T78" fmla="*/ 14 w 28"/>
              <a:gd name="T79" fmla="*/ 10 h 14"/>
              <a:gd name="T80" fmla="*/ 13 w 28"/>
              <a:gd name="T81" fmla="*/ 10 h 14"/>
              <a:gd name="T82" fmla="*/ 13 w 28"/>
              <a:gd name="T83" fmla="*/ 13 h 14"/>
              <a:gd name="T84" fmla="*/ 7 w 28"/>
              <a:gd name="T85" fmla="*/ 11 h 14"/>
              <a:gd name="T86" fmla="*/ 8 w 28"/>
              <a:gd name="T87" fmla="*/ 10 h 14"/>
              <a:gd name="T88" fmla="*/ 10 w 28"/>
              <a:gd name="T89" fmla="*/ 10 h 14"/>
              <a:gd name="T90" fmla="*/ 10 w 28"/>
              <a:gd name="T9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14">
                <a:moveTo>
                  <a:pt x="10" y="9"/>
                </a:moveTo>
                <a:cubicBezTo>
                  <a:pt x="10" y="8"/>
                  <a:pt x="9" y="10"/>
                  <a:pt x="9" y="10"/>
                </a:cubicBezTo>
                <a:cubicBezTo>
                  <a:pt x="8" y="10"/>
                  <a:pt x="8" y="9"/>
                  <a:pt x="7" y="9"/>
                </a:cubicBezTo>
                <a:cubicBezTo>
                  <a:pt x="7" y="8"/>
                  <a:pt x="7" y="9"/>
                  <a:pt x="8" y="8"/>
                </a:cubicBezTo>
                <a:cubicBezTo>
                  <a:pt x="9" y="8"/>
                  <a:pt x="9" y="7"/>
                  <a:pt x="11" y="6"/>
                </a:cubicBezTo>
                <a:cubicBezTo>
                  <a:pt x="10" y="6"/>
                  <a:pt x="10" y="6"/>
                  <a:pt x="10" y="5"/>
                </a:cubicBezTo>
                <a:cubicBezTo>
                  <a:pt x="9" y="5"/>
                  <a:pt x="8" y="6"/>
                  <a:pt x="7" y="5"/>
                </a:cubicBezTo>
                <a:cubicBezTo>
                  <a:pt x="7" y="6"/>
                  <a:pt x="6" y="6"/>
                  <a:pt x="5" y="7"/>
                </a:cubicBezTo>
                <a:cubicBezTo>
                  <a:pt x="4" y="7"/>
                  <a:pt x="4" y="6"/>
                  <a:pt x="2" y="6"/>
                </a:cubicBezTo>
                <a:cubicBezTo>
                  <a:pt x="3" y="6"/>
                  <a:pt x="3" y="5"/>
                  <a:pt x="2" y="3"/>
                </a:cubicBezTo>
                <a:cubicBezTo>
                  <a:pt x="2" y="3"/>
                  <a:pt x="2" y="3"/>
                  <a:pt x="1" y="4"/>
                </a:cubicBezTo>
                <a:cubicBezTo>
                  <a:pt x="0" y="4"/>
                  <a:pt x="1" y="2"/>
                  <a:pt x="1" y="1"/>
                </a:cubicBezTo>
                <a:cubicBezTo>
                  <a:pt x="2" y="1"/>
                  <a:pt x="2" y="1"/>
                  <a:pt x="2" y="2"/>
                </a:cubicBezTo>
                <a:cubicBezTo>
                  <a:pt x="2" y="1"/>
                  <a:pt x="4" y="2"/>
                  <a:pt x="5" y="1"/>
                </a:cubicBezTo>
                <a:cubicBezTo>
                  <a:pt x="5" y="1"/>
                  <a:pt x="5" y="2"/>
                  <a:pt x="5" y="2"/>
                </a:cubicBezTo>
                <a:cubicBezTo>
                  <a:pt x="7" y="3"/>
                  <a:pt x="9" y="0"/>
                  <a:pt x="9" y="3"/>
                </a:cubicBezTo>
                <a:cubicBezTo>
                  <a:pt x="10" y="3"/>
                  <a:pt x="10" y="2"/>
                  <a:pt x="10" y="1"/>
                </a:cubicBezTo>
                <a:cubicBezTo>
                  <a:pt x="11" y="1"/>
                  <a:pt x="13" y="1"/>
                  <a:pt x="15" y="1"/>
                </a:cubicBezTo>
                <a:cubicBezTo>
                  <a:pt x="15" y="1"/>
                  <a:pt x="15" y="2"/>
                  <a:pt x="15" y="1"/>
                </a:cubicBezTo>
                <a:cubicBezTo>
                  <a:pt x="16" y="2"/>
                  <a:pt x="15" y="3"/>
                  <a:pt x="17" y="3"/>
                </a:cubicBezTo>
                <a:cubicBezTo>
                  <a:pt x="17" y="3"/>
                  <a:pt x="17" y="3"/>
                  <a:pt x="17" y="4"/>
                </a:cubicBezTo>
                <a:cubicBezTo>
                  <a:pt x="18" y="3"/>
                  <a:pt x="19" y="4"/>
                  <a:pt x="19" y="3"/>
                </a:cubicBezTo>
                <a:cubicBezTo>
                  <a:pt x="20" y="4"/>
                  <a:pt x="20" y="5"/>
                  <a:pt x="22" y="4"/>
                </a:cubicBezTo>
                <a:cubicBezTo>
                  <a:pt x="21" y="5"/>
                  <a:pt x="22" y="5"/>
                  <a:pt x="22" y="5"/>
                </a:cubicBezTo>
                <a:cubicBezTo>
                  <a:pt x="23" y="5"/>
                  <a:pt x="22" y="6"/>
                  <a:pt x="23" y="6"/>
                </a:cubicBezTo>
                <a:cubicBezTo>
                  <a:pt x="24" y="6"/>
                  <a:pt x="23" y="6"/>
                  <a:pt x="23" y="6"/>
                </a:cubicBezTo>
                <a:cubicBezTo>
                  <a:pt x="24" y="7"/>
                  <a:pt x="24" y="6"/>
                  <a:pt x="24" y="6"/>
                </a:cubicBezTo>
                <a:cubicBezTo>
                  <a:pt x="24" y="7"/>
                  <a:pt x="24" y="7"/>
                  <a:pt x="24" y="7"/>
                </a:cubicBezTo>
                <a:cubicBezTo>
                  <a:pt x="24" y="8"/>
                  <a:pt x="25" y="7"/>
                  <a:pt x="25" y="7"/>
                </a:cubicBezTo>
                <a:cubicBezTo>
                  <a:pt x="26" y="8"/>
                  <a:pt x="25" y="8"/>
                  <a:pt x="26" y="9"/>
                </a:cubicBezTo>
                <a:cubicBezTo>
                  <a:pt x="26" y="9"/>
                  <a:pt x="27" y="8"/>
                  <a:pt x="27" y="9"/>
                </a:cubicBezTo>
                <a:cubicBezTo>
                  <a:pt x="28" y="10"/>
                  <a:pt x="26" y="9"/>
                  <a:pt x="26" y="10"/>
                </a:cubicBezTo>
                <a:cubicBezTo>
                  <a:pt x="26" y="10"/>
                  <a:pt x="26" y="10"/>
                  <a:pt x="26" y="10"/>
                </a:cubicBezTo>
                <a:cubicBezTo>
                  <a:pt x="24" y="11"/>
                  <a:pt x="22" y="10"/>
                  <a:pt x="21" y="10"/>
                </a:cubicBezTo>
                <a:cubicBezTo>
                  <a:pt x="21" y="9"/>
                  <a:pt x="21" y="9"/>
                  <a:pt x="21" y="7"/>
                </a:cubicBezTo>
                <a:cubicBezTo>
                  <a:pt x="21" y="6"/>
                  <a:pt x="17" y="6"/>
                  <a:pt x="16" y="7"/>
                </a:cubicBezTo>
                <a:cubicBezTo>
                  <a:pt x="16" y="7"/>
                  <a:pt x="16" y="8"/>
                  <a:pt x="16" y="8"/>
                </a:cubicBezTo>
                <a:cubicBezTo>
                  <a:pt x="16" y="9"/>
                  <a:pt x="15" y="8"/>
                  <a:pt x="15" y="8"/>
                </a:cubicBezTo>
                <a:cubicBezTo>
                  <a:pt x="15" y="9"/>
                  <a:pt x="15" y="10"/>
                  <a:pt x="14" y="9"/>
                </a:cubicBezTo>
                <a:cubicBezTo>
                  <a:pt x="14" y="10"/>
                  <a:pt x="14" y="10"/>
                  <a:pt x="14" y="10"/>
                </a:cubicBezTo>
                <a:cubicBezTo>
                  <a:pt x="14" y="10"/>
                  <a:pt x="14" y="10"/>
                  <a:pt x="13" y="10"/>
                </a:cubicBezTo>
                <a:cubicBezTo>
                  <a:pt x="13" y="12"/>
                  <a:pt x="13" y="11"/>
                  <a:pt x="13" y="13"/>
                </a:cubicBezTo>
                <a:cubicBezTo>
                  <a:pt x="11" y="13"/>
                  <a:pt x="7" y="14"/>
                  <a:pt x="7" y="11"/>
                </a:cubicBezTo>
                <a:cubicBezTo>
                  <a:pt x="8" y="11"/>
                  <a:pt x="8" y="11"/>
                  <a:pt x="8" y="10"/>
                </a:cubicBezTo>
                <a:cubicBezTo>
                  <a:pt x="10" y="10"/>
                  <a:pt x="9" y="11"/>
                  <a:pt x="10" y="10"/>
                </a:cubicBezTo>
                <a:cubicBezTo>
                  <a:pt x="10" y="10"/>
                  <a:pt x="9" y="10"/>
                  <a:pt x="10" y="9"/>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5" name="Freeform 101"/>
          <p:cNvSpPr/>
          <p:nvPr/>
        </p:nvSpPr>
        <p:spPr bwMode="auto">
          <a:xfrm>
            <a:off x="1860219" y="1695450"/>
            <a:ext cx="119063" cy="58737"/>
          </a:xfrm>
          <a:custGeom>
            <a:avLst/>
            <a:gdLst>
              <a:gd name="T0" fmla="*/ 12 w 12"/>
              <a:gd name="T1" fmla="*/ 1 h 6"/>
              <a:gd name="T2" fmla="*/ 12 w 12"/>
              <a:gd name="T3" fmla="*/ 2 h 6"/>
              <a:gd name="T4" fmla="*/ 11 w 12"/>
              <a:gd name="T5" fmla="*/ 2 h 6"/>
              <a:gd name="T6" fmla="*/ 11 w 12"/>
              <a:gd name="T7" fmla="*/ 3 h 6"/>
              <a:gd name="T8" fmla="*/ 10 w 12"/>
              <a:gd name="T9" fmla="*/ 4 h 6"/>
              <a:gd name="T10" fmla="*/ 8 w 12"/>
              <a:gd name="T11" fmla="*/ 3 h 6"/>
              <a:gd name="T12" fmla="*/ 7 w 12"/>
              <a:gd name="T13" fmla="*/ 4 h 6"/>
              <a:gd name="T14" fmla="*/ 5 w 12"/>
              <a:gd name="T15" fmla="*/ 6 h 6"/>
              <a:gd name="T16" fmla="*/ 0 w 12"/>
              <a:gd name="T17" fmla="*/ 6 h 6"/>
              <a:gd name="T18" fmla="*/ 0 w 12"/>
              <a:gd name="T19" fmla="*/ 4 h 6"/>
              <a:gd name="T20" fmla="*/ 1 w 12"/>
              <a:gd name="T21" fmla="*/ 4 h 6"/>
              <a:gd name="T22" fmla="*/ 3 w 12"/>
              <a:gd name="T23" fmla="*/ 3 h 6"/>
              <a:gd name="T24" fmla="*/ 4 w 12"/>
              <a:gd name="T25" fmla="*/ 2 h 6"/>
              <a:gd name="T26" fmla="*/ 6 w 12"/>
              <a:gd name="T27" fmla="*/ 2 h 6"/>
              <a:gd name="T28" fmla="*/ 6 w 12"/>
              <a:gd name="T29" fmla="*/ 2 h 6"/>
              <a:gd name="T30" fmla="*/ 7 w 12"/>
              <a:gd name="T31" fmla="*/ 1 h 6"/>
              <a:gd name="T32" fmla="*/ 9 w 12"/>
              <a:gd name="T33" fmla="*/ 1 h 6"/>
              <a:gd name="T34" fmla="*/ 12 w 12"/>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6">
                <a:moveTo>
                  <a:pt x="12" y="1"/>
                </a:moveTo>
                <a:cubicBezTo>
                  <a:pt x="12" y="1"/>
                  <a:pt x="12" y="2"/>
                  <a:pt x="12" y="2"/>
                </a:cubicBezTo>
                <a:cubicBezTo>
                  <a:pt x="12" y="2"/>
                  <a:pt x="11" y="2"/>
                  <a:pt x="11" y="2"/>
                </a:cubicBezTo>
                <a:cubicBezTo>
                  <a:pt x="11" y="2"/>
                  <a:pt x="12" y="3"/>
                  <a:pt x="11" y="3"/>
                </a:cubicBezTo>
                <a:cubicBezTo>
                  <a:pt x="11" y="4"/>
                  <a:pt x="10" y="3"/>
                  <a:pt x="10" y="4"/>
                </a:cubicBezTo>
                <a:cubicBezTo>
                  <a:pt x="9" y="4"/>
                  <a:pt x="10" y="3"/>
                  <a:pt x="8" y="3"/>
                </a:cubicBezTo>
                <a:cubicBezTo>
                  <a:pt x="7" y="3"/>
                  <a:pt x="8" y="4"/>
                  <a:pt x="7" y="4"/>
                </a:cubicBezTo>
                <a:cubicBezTo>
                  <a:pt x="7" y="5"/>
                  <a:pt x="5" y="4"/>
                  <a:pt x="5" y="6"/>
                </a:cubicBezTo>
                <a:cubicBezTo>
                  <a:pt x="3" y="6"/>
                  <a:pt x="2" y="6"/>
                  <a:pt x="0" y="6"/>
                </a:cubicBezTo>
                <a:cubicBezTo>
                  <a:pt x="0" y="5"/>
                  <a:pt x="0" y="5"/>
                  <a:pt x="0" y="4"/>
                </a:cubicBezTo>
                <a:cubicBezTo>
                  <a:pt x="0" y="4"/>
                  <a:pt x="1" y="4"/>
                  <a:pt x="1" y="4"/>
                </a:cubicBezTo>
                <a:cubicBezTo>
                  <a:pt x="2" y="4"/>
                  <a:pt x="2" y="3"/>
                  <a:pt x="3" y="3"/>
                </a:cubicBezTo>
                <a:cubicBezTo>
                  <a:pt x="4" y="3"/>
                  <a:pt x="4" y="2"/>
                  <a:pt x="4" y="2"/>
                </a:cubicBezTo>
                <a:cubicBezTo>
                  <a:pt x="5" y="3"/>
                  <a:pt x="4" y="2"/>
                  <a:pt x="6" y="2"/>
                </a:cubicBezTo>
                <a:cubicBezTo>
                  <a:pt x="6" y="2"/>
                  <a:pt x="6" y="2"/>
                  <a:pt x="6" y="2"/>
                </a:cubicBezTo>
                <a:cubicBezTo>
                  <a:pt x="6" y="1"/>
                  <a:pt x="7" y="1"/>
                  <a:pt x="7" y="1"/>
                </a:cubicBezTo>
                <a:cubicBezTo>
                  <a:pt x="8" y="0"/>
                  <a:pt x="8" y="1"/>
                  <a:pt x="9" y="1"/>
                </a:cubicBezTo>
                <a:cubicBezTo>
                  <a:pt x="9" y="1"/>
                  <a:pt x="11" y="0"/>
                  <a:pt x="12"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6" name="Freeform 102"/>
          <p:cNvSpPr/>
          <p:nvPr/>
        </p:nvSpPr>
        <p:spPr bwMode="auto">
          <a:xfrm>
            <a:off x="2206294" y="1714500"/>
            <a:ext cx="128588" cy="69850"/>
          </a:xfrm>
          <a:custGeom>
            <a:avLst/>
            <a:gdLst>
              <a:gd name="T0" fmla="*/ 11 w 13"/>
              <a:gd name="T1" fmla="*/ 1 h 7"/>
              <a:gd name="T2" fmla="*/ 13 w 13"/>
              <a:gd name="T3" fmla="*/ 5 h 7"/>
              <a:gd name="T4" fmla="*/ 12 w 13"/>
              <a:gd name="T5" fmla="*/ 5 h 7"/>
              <a:gd name="T6" fmla="*/ 12 w 13"/>
              <a:gd name="T7" fmla="*/ 6 h 7"/>
              <a:gd name="T8" fmla="*/ 10 w 13"/>
              <a:gd name="T9" fmla="*/ 7 h 7"/>
              <a:gd name="T10" fmla="*/ 9 w 13"/>
              <a:gd name="T11" fmla="*/ 7 h 7"/>
              <a:gd name="T12" fmla="*/ 8 w 13"/>
              <a:gd name="T13" fmla="*/ 7 h 7"/>
              <a:gd name="T14" fmla="*/ 8 w 13"/>
              <a:gd name="T15" fmla="*/ 5 h 7"/>
              <a:gd name="T16" fmla="*/ 3 w 13"/>
              <a:gd name="T17" fmla="*/ 5 h 7"/>
              <a:gd name="T18" fmla="*/ 0 w 13"/>
              <a:gd name="T19" fmla="*/ 2 h 7"/>
              <a:gd name="T20" fmla="*/ 0 w 13"/>
              <a:gd name="T21" fmla="*/ 1 h 7"/>
              <a:gd name="T22" fmla="*/ 1 w 13"/>
              <a:gd name="T23" fmla="*/ 2 h 7"/>
              <a:gd name="T24" fmla="*/ 3 w 13"/>
              <a:gd name="T25" fmla="*/ 3 h 7"/>
              <a:gd name="T26" fmla="*/ 4 w 13"/>
              <a:gd name="T27" fmla="*/ 3 h 7"/>
              <a:gd name="T28" fmla="*/ 5 w 13"/>
              <a:gd name="T29" fmla="*/ 4 h 7"/>
              <a:gd name="T30" fmla="*/ 5 w 13"/>
              <a:gd name="T31" fmla="*/ 2 h 7"/>
              <a:gd name="T32" fmla="*/ 6 w 13"/>
              <a:gd name="T33" fmla="*/ 3 h 7"/>
              <a:gd name="T34" fmla="*/ 11 w 13"/>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7">
                <a:moveTo>
                  <a:pt x="11" y="1"/>
                </a:moveTo>
                <a:cubicBezTo>
                  <a:pt x="11" y="3"/>
                  <a:pt x="13" y="3"/>
                  <a:pt x="13" y="5"/>
                </a:cubicBezTo>
                <a:cubicBezTo>
                  <a:pt x="13" y="5"/>
                  <a:pt x="12" y="4"/>
                  <a:pt x="12" y="5"/>
                </a:cubicBezTo>
                <a:cubicBezTo>
                  <a:pt x="12" y="5"/>
                  <a:pt x="12" y="6"/>
                  <a:pt x="12" y="6"/>
                </a:cubicBezTo>
                <a:cubicBezTo>
                  <a:pt x="11" y="6"/>
                  <a:pt x="11" y="6"/>
                  <a:pt x="10" y="7"/>
                </a:cubicBezTo>
                <a:cubicBezTo>
                  <a:pt x="10" y="7"/>
                  <a:pt x="10" y="7"/>
                  <a:pt x="9" y="7"/>
                </a:cubicBezTo>
                <a:cubicBezTo>
                  <a:pt x="9" y="7"/>
                  <a:pt x="8" y="7"/>
                  <a:pt x="8" y="7"/>
                </a:cubicBezTo>
                <a:cubicBezTo>
                  <a:pt x="7" y="6"/>
                  <a:pt x="7" y="6"/>
                  <a:pt x="8" y="5"/>
                </a:cubicBezTo>
                <a:cubicBezTo>
                  <a:pt x="6" y="6"/>
                  <a:pt x="5" y="5"/>
                  <a:pt x="3" y="5"/>
                </a:cubicBezTo>
                <a:cubicBezTo>
                  <a:pt x="3" y="3"/>
                  <a:pt x="1" y="3"/>
                  <a:pt x="0" y="2"/>
                </a:cubicBezTo>
                <a:cubicBezTo>
                  <a:pt x="0" y="2"/>
                  <a:pt x="0" y="1"/>
                  <a:pt x="0" y="1"/>
                </a:cubicBezTo>
                <a:cubicBezTo>
                  <a:pt x="1" y="1"/>
                  <a:pt x="1" y="2"/>
                  <a:pt x="1" y="2"/>
                </a:cubicBezTo>
                <a:cubicBezTo>
                  <a:pt x="2" y="2"/>
                  <a:pt x="3" y="2"/>
                  <a:pt x="3" y="3"/>
                </a:cubicBezTo>
                <a:cubicBezTo>
                  <a:pt x="3" y="3"/>
                  <a:pt x="4" y="3"/>
                  <a:pt x="4" y="3"/>
                </a:cubicBezTo>
                <a:cubicBezTo>
                  <a:pt x="5" y="3"/>
                  <a:pt x="4" y="4"/>
                  <a:pt x="5" y="4"/>
                </a:cubicBezTo>
                <a:cubicBezTo>
                  <a:pt x="6" y="3"/>
                  <a:pt x="4" y="3"/>
                  <a:pt x="5" y="2"/>
                </a:cubicBezTo>
                <a:cubicBezTo>
                  <a:pt x="6" y="1"/>
                  <a:pt x="6" y="3"/>
                  <a:pt x="6" y="3"/>
                </a:cubicBezTo>
                <a:cubicBezTo>
                  <a:pt x="8" y="3"/>
                  <a:pt x="9" y="0"/>
                  <a:pt x="11" y="1"/>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7" name="Freeform 103"/>
          <p:cNvSpPr/>
          <p:nvPr/>
        </p:nvSpPr>
        <p:spPr bwMode="auto">
          <a:xfrm>
            <a:off x="1958644" y="1725613"/>
            <a:ext cx="227013" cy="79375"/>
          </a:xfrm>
          <a:custGeom>
            <a:avLst/>
            <a:gdLst>
              <a:gd name="T0" fmla="*/ 10 w 23"/>
              <a:gd name="T1" fmla="*/ 3 h 8"/>
              <a:gd name="T2" fmla="*/ 15 w 23"/>
              <a:gd name="T3" fmla="*/ 5 h 8"/>
              <a:gd name="T4" fmla="*/ 15 w 23"/>
              <a:gd name="T5" fmla="*/ 2 h 8"/>
              <a:gd name="T6" fmla="*/ 13 w 23"/>
              <a:gd name="T7" fmla="*/ 0 h 8"/>
              <a:gd name="T8" fmla="*/ 17 w 23"/>
              <a:gd name="T9" fmla="*/ 0 h 8"/>
              <a:gd name="T10" fmla="*/ 18 w 23"/>
              <a:gd name="T11" fmla="*/ 1 h 8"/>
              <a:gd name="T12" fmla="*/ 18 w 23"/>
              <a:gd name="T13" fmla="*/ 2 h 8"/>
              <a:gd name="T14" fmla="*/ 19 w 23"/>
              <a:gd name="T15" fmla="*/ 3 h 8"/>
              <a:gd name="T16" fmla="*/ 21 w 23"/>
              <a:gd name="T17" fmla="*/ 2 h 8"/>
              <a:gd name="T18" fmla="*/ 22 w 23"/>
              <a:gd name="T19" fmla="*/ 3 h 8"/>
              <a:gd name="T20" fmla="*/ 23 w 23"/>
              <a:gd name="T21" fmla="*/ 4 h 8"/>
              <a:gd name="T22" fmla="*/ 22 w 23"/>
              <a:gd name="T23" fmla="*/ 6 h 8"/>
              <a:gd name="T24" fmla="*/ 19 w 23"/>
              <a:gd name="T25" fmla="*/ 6 h 8"/>
              <a:gd name="T26" fmla="*/ 18 w 23"/>
              <a:gd name="T27" fmla="*/ 6 h 8"/>
              <a:gd name="T28" fmla="*/ 13 w 23"/>
              <a:gd name="T29" fmla="*/ 7 h 8"/>
              <a:gd name="T30" fmla="*/ 13 w 23"/>
              <a:gd name="T31" fmla="*/ 7 h 8"/>
              <a:gd name="T32" fmla="*/ 11 w 23"/>
              <a:gd name="T33" fmla="*/ 7 h 8"/>
              <a:gd name="T34" fmla="*/ 6 w 23"/>
              <a:gd name="T35" fmla="*/ 8 h 8"/>
              <a:gd name="T36" fmla="*/ 11 w 23"/>
              <a:gd name="T37" fmla="*/ 7 h 8"/>
              <a:gd name="T38" fmla="*/ 8 w 23"/>
              <a:gd name="T39" fmla="*/ 6 h 8"/>
              <a:gd name="T40" fmla="*/ 6 w 23"/>
              <a:gd name="T41" fmla="*/ 5 h 8"/>
              <a:gd name="T42" fmla="*/ 5 w 23"/>
              <a:gd name="T43" fmla="*/ 6 h 8"/>
              <a:gd name="T44" fmla="*/ 3 w 23"/>
              <a:gd name="T45" fmla="*/ 6 h 8"/>
              <a:gd name="T46" fmla="*/ 0 w 23"/>
              <a:gd name="T47" fmla="*/ 5 h 8"/>
              <a:gd name="T48" fmla="*/ 1 w 23"/>
              <a:gd name="T49" fmla="*/ 4 h 8"/>
              <a:gd name="T50" fmla="*/ 1 w 23"/>
              <a:gd name="T51" fmla="*/ 3 h 8"/>
              <a:gd name="T52" fmla="*/ 3 w 23"/>
              <a:gd name="T53" fmla="*/ 2 h 8"/>
              <a:gd name="T54" fmla="*/ 3 w 23"/>
              <a:gd name="T55" fmla="*/ 1 h 8"/>
              <a:gd name="T56" fmla="*/ 4 w 23"/>
              <a:gd name="T57" fmla="*/ 1 h 8"/>
              <a:gd name="T58" fmla="*/ 5 w 23"/>
              <a:gd name="T59" fmla="*/ 1 h 8"/>
              <a:gd name="T60" fmla="*/ 7 w 23"/>
              <a:gd name="T61" fmla="*/ 1 h 8"/>
              <a:gd name="T62" fmla="*/ 8 w 23"/>
              <a:gd name="T63" fmla="*/ 2 h 8"/>
              <a:gd name="T64" fmla="*/ 9 w 23"/>
              <a:gd name="T65" fmla="*/ 2 h 8"/>
              <a:gd name="T66" fmla="*/ 9 w 23"/>
              <a:gd name="T67" fmla="*/ 4 h 8"/>
              <a:gd name="T68" fmla="*/ 10 w 23"/>
              <a:gd name="T6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8">
                <a:moveTo>
                  <a:pt x="10" y="3"/>
                </a:moveTo>
                <a:cubicBezTo>
                  <a:pt x="10" y="4"/>
                  <a:pt x="14" y="4"/>
                  <a:pt x="15" y="5"/>
                </a:cubicBezTo>
                <a:cubicBezTo>
                  <a:pt x="16" y="3"/>
                  <a:pt x="12" y="2"/>
                  <a:pt x="15" y="2"/>
                </a:cubicBezTo>
                <a:cubicBezTo>
                  <a:pt x="16" y="1"/>
                  <a:pt x="13" y="2"/>
                  <a:pt x="13" y="0"/>
                </a:cubicBezTo>
                <a:cubicBezTo>
                  <a:pt x="15" y="1"/>
                  <a:pt x="15" y="0"/>
                  <a:pt x="17" y="0"/>
                </a:cubicBezTo>
                <a:cubicBezTo>
                  <a:pt x="16" y="1"/>
                  <a:pt x="17" y="1"/>
                  <a:pt x="18" y="1"/>
                </a:cubicBezTo>
                <a:cubicBezTo>
                  <a:pt x="18" y="1"/>
                  <a:pt x="17" y="2"/>
                  <a:pt x="18" y="2"/>
                </a:cubicBezTo>
                <a:cubicBezTo>
                  <a:pt x="18" y="2"/>
                  <a:pt x="19" y="2"/>
                  <a:pt x="19" y="3"/>
                </a:cubicBezTo>
                <a:cubicBezTo>
                  <a:pt x="20" y="3"/>
                  <a:pt x="20" y="2"/>
                  <a:pt x="21" y="2"/>
                </a:cubicBezTo>
                <a:cubicBezTo>
                  <a:pt x="22" y="2"/>
                  <a:pt x="22" y="3"/>
                  <a:pt x="22" y="3"/>
                </a:cubicBezTo>
                <a:cubicBezTo>
                  <a:pt x="22" y="3"/>
                  <a:pt x="23" y="4"/>
                  <a:pt x="23" y="4"/>
                </a:cubicBezTo>
                <a:cubicBezTo>
                  <a:pt x="22" y="5"/>
                  <a:pt x="23" y="5"/>
                  <a:pt x="22" y="6"/>
                </a:cubicBezTo>
                <a:cubicBezTo>
                  <a:pt x="21" y="5"/>
                  <a:pt x="20" y="6"/>
                  <a:pt x="19" y="6"/>
                </a:cubicBezTo>
                <a:cubicBezTo>
                  <a:pt x="19" y="7"/>
                  <a:pt x="18" y="6"/>
                  <a:pt x="18" y="6"/>
                </a:cubicBezTo>
                <a:cubicBezTo>
                  <a:pt x="16" y="6"/>
                  <a:pt x="14" y="7"/>
                  <a:pt x="13" y="7"/>
                </a:cubicBezTo>
                <a:cubicBezTo>
                  <a:pt x="13" y="7"/>
                  <a:pt x="13" y="7"/>
                  <a:pt x="13" y="7"/>
                </a:cubicBezTo>
                <a:cubicBezTo>
                  <a:pt x="12" y="7"/>
                  <a:pt x="12" y="7"/>
                  <a:pt x="11" y="7"/>
                </a:cubicBezTo>
                <a:cubicBezTo>
                  <a:pt x="11" y="8"/>
                  <a:pt x="8" y="8"/>
                  <a:pt x="6" y="8"/>
                </a:cubicBezTo>
                <a:cubicBezTo>
                  <a:pt x="7" y="7"/>
                  <a:pt x="9" y="7"/>
                  <a:pt x="11" y="7"/>
                </a:cubicBezTo>
                <a:cubicBezTo>
                  <a:pt x="11" y="5"/>
                  <a:pt x="9" y="6"/>
                  <a:pt x="8" y="6"/>
                </a:cubicBezTo>
                <a:cubicBezTo>
                  <a:pt x="7" y="6"/>
                  <a:pt x="7" y="6"/>
                  <a:pt x="6" y="5"/>
                </a:cubicBezTo>
                <a:cubicBezTo>
                  <a:pt x="5" y="5"/>
                  <a:pt x="5" y="6"/>
                  <a:pt x="5" y="6"/>
                </a:cubicBezTo>
                <a:cubicBezTo>
                  <a:pt x="4" y="6"/>
                  <a:pt x="4" y="6"/>
                  <a:pt x="3" y="6"/>
                </a:cubicBezTo>
                <a:cubicBezTo>
                  <a:pt x="2" y="5"/>
                  <a:pt x="1" y="6"/>
                  <a:pt x="0" y="5"/>
                </a:cubicBezTo>
                <a:cubicBezTo>
                  <a:pt x="0" y="5"/>
                  <a:pt x="1" y="4"/>
                  <a:pt x="1" y="4"/>
                </a:cubicBezTo>
                <a:cubicBezTo>
                  <a:pt x="1" y="4"/>
                  <a:pt x="1" y="3"/>
                  <a:pt x="1" y="3"/>
                </a:cubicBezTo>
                <a:cubicBezTo>
                  <a:pt x="2" y="2"/>
                  <a:pt x="3" y="3"/>
                  <a:pt x="3" y="2"/>
                </a:cubicBezTo>
                <a:cubicBezTo>
                  <a:pt x="3" y="2"/>
                  <a:pt x="2" y="2"/>
                  <a:pt x="3" y="1"/>
                </a:cubicBezTo>
                <a:cubicBezTo>
                  <a:pt x="3" y="1"/>
                  <a:pt x="3" y="1"/>
                  <a:pt x="4" y="1"/>
                </a:cubicBezTo>
                <a:cubicBezTo>
                  <a:pt x="4" y="1"/>
                  <a:pt x="5" y="1"/>
                  <a:pt x="5" y="1"/>
                </a:cubicBezTo>
                <a:cubicBezTo>
                  <a:pt x="5" y="1"/>
                  <a:pt x="7" y="1"/>
                  <a:pt x="7" y="1"/>
                </a:cubicBezTo>
                <a:cubicBezTo>
                  <a:pt x="8" y="2"/>
                  <a:pt x="7" y="2"/>
                  <a:pt x="8" y="2"/>
                </a:cubicBezTo>
                <a:cubicBezTo>
                  <a:pt x="8" y="2"/>
                  <a:pt x="9" y="2"/>
                  <a:pt x="9" y="2"/>
                </a:cubicBezTo>
                <a:cubicBezTo>
                  <a:pt x="9" y="3"/>
                  <a:pt x="8" y="4"/>
                  <a:pt x="9" y="4"/>
                </a:cubicBezTo>
                <a:cubicBezTo>
                  <a:pt x="9" y="4"/>
                  <a:pt x="9" y="2"/>
                  <a:pt x="10" y="3"/>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8" name="Freeform 104"/>
          <p:cNvSpPr/>
          <p:nvPr/>
        </p:nvSpPr>
        <p:spPr bwMode="auto">
          <a:xfrm>
            <a:off x="1799894" y="1814513"/>
            <a:ext cx="179388" cy="119062"/>
          </a:xfrm>
          <a:custGeom>
            <a:avLst/>
            <a:gdLst>
              <a:gd name="T0" fmla="*/ 2 w 18"/>
              <a:gd name="T1" fmla="*/ 0 h 12"/>
              <a:gd name="T2" fmla="*/ 10 w 18"/>
              <a:gd name="T3" fmla="*/ 0 h 12"/>
              <a:gd name="T4" fmla="*/ 11 w 18"/>
              <a:gd name="T5" fmla="*/ 0 h 12"/>
              <a:gd name="T6" fmla="*/ 13 w 18"/>
              <a:gd name="T7" fmla="*/ 1 h 12"/>
              <a:gd name="T8" fmla="*/ 15 w 18"/>
              <a:gd name="T9" fmla="*/ 1 h 12"/>
              <a:gd name="T10" fmla="*/ 15 w 18"/>
              <a:gd name="T11" fmla="*/ 1 h 12"/>
              <a:gd name="T12" fmla="*/ 18 w 18"/>
              <a:gd name="T13" fmla="*/ 3 h 12"/>
              <a:gd name="T14" fmla="*/ 14 w 18"/>
              <a:gd name="T15" fmla="*/ 4 h 12"/>
              <a:gd name="T16" fmla="*/ 14 w 18"/>
              <a:gd name="T17" fmla="*/ 5 h 12"/>
              <a:gd name="T18" fmla="*/ 13 w 18"/>
              <a:gd name="T19" fmla="*/ 4 h 12"/>
              <a:gd name="T20" fmla="*/ 12 w 18"/>
              <a:gd name="T21" fmla="*/ 5 h 12"/>
              <a:gd name="T22" fmla="*/ 13 w 18"/>
              <a:gd name="T23" fmla="*/ 5 h 12"/>
              <a:gd name="T24" fmla="*/ 12 w 18"/>
              <a:gd name="T25" fmla="*/ 6 h 12"/>
              <a:gd name="T26" fmla="*/ 12 w 18"/>
              <a:gd name="T27" fmla="*/ 7 h 12"/>
              <a:gd name="T28" fmla="*/ 11 w 18"/>
              <a:gd name="T29" fmla="*/ 7 h 12"/>
              <a:gd name="T30" fmla="*/ 10 w 18"/>
              <a:gd name="T31" fmla="*/ 8 h 12"/>
              <a:gd name="T32" fmla="*/ 10 w 18"/>
              <a:gd name="T33" fmla="*/ 10 h 12"/>
              <a:gd name="T34" fmla="*/ 4 w 18"/>
              <a:gd name="T35" fmla="*/ 11 h 12"/>
              <a:gd name="T36" fmla="*/ 0 w 18"/>
              <a:gd name="T37" fmla="*/ 8 h 12"/>
              <a:gd name="T38" fmla="*/ 1 w 18"/>
              <a:gd name="T39" fmla="*/ 7 h 12"/>
              <a:gd name="T40" fmla="*/ 2 w 18"/>
              <a:gd name="T41" fmla="*/ 6 h 12"/>
              <a:gd name="T42" fmla="*/ 1 w 18"/>
              <a:gd name="T43" fmla="*/ 4 h 12"/>
              <a:gd name="T44" fmla="*/ 2 w 18"/>
              <a:gd name="T45" fmla="*/ 4 h 12"/>
              <a:gd name="T46" fmla="*/ 3 w 18"/>
              <a:gd name="T47" fmla="*/ 2 h 12"/>
              <a:gd name="T48" fmla="*/ 2 w 18"/>
              <a:gd name="T4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2">
                <a:moveTo>
                  <a:pt x="2" y="0"/>
                </a:moveTo>
                <a:cubicBezTo>
                  <a:pt x="5" y="0"/>
                  <a:pt x="8" y="0"/>
                  <a:pt x="10" y="0"/>
                </a:cubicBezTo>
                <a:cubicBezTo>
                  <a:pt x="10" y="0"/>
                  <a:pt x="11" y="0"/>
                  <a:pt x="11" y="0"/>
                </a:cubicBezTo>
                <a:cubicBezTo>
                  <a:pt x="12" y="1"/>
                  <a:pt x="13" y="0"/>
                  <a:pt x="13" y="1"/>
                </a:cubicBezTo>
                <a:cubicBezTo>
                  <a:pt x="14" y="2"/>
                  <a:pt x="13" y="0"/>
                  <a:pt x="15" y="1"/>
                </a:cubicBezTo>
                <a:cubicBezTo>
                  <a:pt x="15" y="1"/>
                  <a:pt x="15" y="1"/>
                  <a:pt x="15" y="1"/>
                </a:cubicBezTo>
                <a:cubicBezTo>
                  <a:pt x="16" y="1"/>
                  <a:pt x="18" y="2"/>
                  <a:pt x="18" y="3"/>
                </a:cubicBezTo>
                <a:cubicBezTo>
                  <a:pt x="17" y="3"/>
                  <a:pt x="15" y="4"/>
                  <a:pt x="14" y="4"/>
                </a:cubicBezTo>
                <a:cubicBezTo>
                  <a:pt x="14" y="4"/>
                  <a:pt x="14" y="5"/>
                  <a:pt x="14" y="5"/>
                </a:cubicBezTo>
                <a:cubicBezTo>
                  <a:pt x="13" y="5"/>
                  <a:pt x="13" y="4"/>
                  <a:pt x="13" y="4"/>
                </a:cubicBezTo>
                <a:cubicBezTo>
                  <a:pt x="13" y="4"/>
                  <a:pt x="12" y="5"/>
                  <a:pt x="12" y="5"/>
                </a:cubicBezTo>
                <a:cubicBezTo>
                  <a:pt x="12" y="5"/>
                  <a:pt x="13" y="6"/>
                  <a:pt x="13" y="5"/>
                </a:cubicBezTo>
                <a:cubicBezTo>
                  <a:pt x="12" y="6"/>
                  <a:pt x="12" y="6"/>
                  <a:pt x="12" y="6"/>
                </a:cubicBezTo>
                <a:cubicBezTo>
                  <a:pt x="12" y="6"/>
                  <a:pt x="12" y="7"/>
                  <a:pt x="12" y="7"/>
                </a:cubicBezTo>
                <a:cubicBezTo>
                  <a:pt x="12" y="7"/>
                  <a:pt x="11" y="7"/>
                  <a:pt x="11" y="7"/>
                </a:cubicBezTo>
                <a:cubicBezTo>
                  <a:pt x="10" y="7"/>
                  <a:pt x="10" y="8"/>
                  <a:pt x="10" y="8"/>
                </a:cubicBezTo>
                <a:cubicBezTo>
                  <a:pt x="10" y="8"/>
                  <a:pt x="10" y="9"/>
                  <a:pt x="10" y="10"/>
                </a:cubicBezTo>
                <a:cubicBezTo>
                  <a:pt x="8" y="10"/>
                  <a:pt x="8" y="12"/>
                  <a:pt x="4" y="11"/>
                </a:cubicBezTo>
                <a:cubicBezTo>
                  <a:pt x="5" y="8"/>
                  <a:pt x="2" y="9"/>
                  <a:pt x="0" y="8"/>
                </a:cubicBezTo>
                <a:cubicBezTo>
                  <a:pt x="0" y="8"/>
                  <a:pt x="1" y="8"/>
                  <a:pt x="1" y="7"/>
                </a:cubicBezTo>
                <a:cubicBezTo>
                  <a:pt x="2" y="7"/>
                  <a:pt x="1" y="6"/>
                  <a:pt x="2" y="6"/>
                </a:cubicBezTo>
                <a:cubicBezTo>
                  <a:pt x="2" y="6"/>
                  <a:pt x="1" y="5"/>
                  <a:pt x="1" y="4"/>
                </a:cubicBezTo>
                <a:cubicBezTo>
                  <a:pt x="2" y="5"/>
                  <a:pt x="2" y="5"/>
                  <a:pt x="2" y="4"/>
                </a:cubicBezTo>
                <a:cubicBezTo>
                  <a:pt x="3" y="3"/>
                  <a:pt x="3" y="4"/>
                  <a:pt x="3" y="2"/>
                </a:cubicBezTo>
                <a:cubicBezTo>
                  <a:pt x="4" y="1"/>
                  <a:pt x="2" y="2"/>
                  <a:pt x="2"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49" name="Freeform 105"/>
          <p:cNvSpPr/>
          <p:nvPr/>
        </p:nvSpPr>
        <p:spPr bwMode="auto">
          <a:xfrm>
            <a:off x="2166607" y="1833563"/>
            <a:ext cx="39688" cy="30162"/>
          </a:xfrm>
          <a:custGeom>
            <a:avLst/>
            <a:gdLst>
              <a:gd name="T0" fmla="*/ 0 w 4"/>
              <a:gd name="T1" fmla="*/ 0 h 3"/>
              <a:gd name="T2" fmla="*/ 3 w 4"/>
              <a:gd name="T3" fmla="*/ 0 h 3"/>
              <a:gd name="T4" fmla="*/ 4 w 4"/>
              <a:gd name="T5" fmla="*/ 2 h 3"/>
              <a:gd name="T6" fmla="*/ 3 w 4"/>
              <a:gd name="T7" fmla="*/ 3 h 3"/>
              <a:gd name="T8" fmla="*/ 0 w 4"/>
              <a:gd name="T9" fmla="*/ 2 h 3"/>
              <a:gd name="T10" fmla="*/ 0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0" y="0"/>
                </a:moveTo>
                <a:cubicBezTo>
                  <a:pt x="1" y="0"/>
                  <a:pt x="2" y="0"/>
                  <a:pt x="3" y="0"/>
                </a:cubicBezTo>
                <a:cubicBezTo>
                  <a:pt x="3" y="1"/>
                  <a:pt x="4" y="1"/>
                  <a:pt x="4" y="2"/>
                </a:cubicBezTo>
                <a:cubicBezTo>
                  <a:pt x="3" y="2"/>
                  <a:pt x="3" y="2"/>
                  <a:pt x="3" y="3"/>
                </a:cubicBezTo>
                <a:cubicBezTo>
                  <a:pt x="2" y="2"/>
                  <a:pt x="2" y="1"/>
                  <a:pt x="0" y="2"/>
                </a:cubicBezTo>
                <a:cubicBezTo>
                  <a:pt x="0" y="1"/>
                  <a:pt x="0" y="1"/>
                  <a:pt x="0"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50" name="Freeform 106"/>
          <p:cNvSpPr/>
          <p:nvPr/>
        </p:nvSpPr>
        <p:spPr bwMode="auto">
          <a:xfrm>
            <a:off x="2363457" y="1824038"/>
            <a:ext cx="88900" cy="60325"/>
          </a:xfrm>
          <a:custGeom>
            <a:avLst/>
            <a:gdLst>
              <a:gd name="T0" fmla="*/ 8 w 9"/>
              <a:gd name="T1" fmla="*/ 0 h 6"/>
              <a:gd name="T2" fmla="*/ 9 w 9"/>
              <a:gd name="T3" fmla="*/ 3 h 6"/>
              <a:gd name="T4" fmla="*/ 8 w 9"/>
              <a:gd name="T5" fmla="*/ 3 h 6"/>
              <a:gd name="T6" fmla="*/ 6 w 9"/>
              <a:gd name="T7" fmla="*/ 4 h 6"/>
              <a:gd name="T8" fmla="*/ 2 w 9"/>
              <a:gd name="T9" fmla="*/ 6 h 6"/>
              <a:gd name="T10" fmla="*/ 1 w 9"/>
              <a:gd name="T11" fmla="*/ 4 h 6"/>
              <a:gd name="T12" fmla="*/ 0 w 9"/>
              <a:gd name="T13" fmla="*/ 3 h 6"/>
              <a:gd name="T14" fmla="*/ 0 w 9"/>
              <a:gd name="T15" fmla="*/ 1 h 6"/>
              <a:gd name="T16" fmla="*/ 1 w 9"/>
              <a:gd name="T17" fmla="*/ 0 h 6"/>
              <a:gd name="T18" fmla="*/ 3 w 9"/>
              <a:gd name="T19" fmla="*/ 0 h 6"/>
              <a:gd name="T20" fmla="*/ 7 w 9"/>
              <a:gd name="T21" fmla="*/ 1 h 6"/>
              <a:gd name="T22" fmla="*/ 8 w 9"/>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6">
                <a:moveTo>
                  <a:pt x="8" y="0"/>
                </a:moveTo>
                <a:cubicBezTo>
                  <a:pt x="9" y="0"/>
                  <a:pt x="9" y="2"/>
                  <a:pt x="9" y="3"/>
                </a:cubicBezTo>
                <a:cubicBezTo>
                  <a:pt x="8" y="2"/>
                  <a:pt x="8" y="3"/>
                  <a:pt x="8" y="3"/>
                </a:cubicBezTo>
                <a:cubicBezTo>
                  <a:pt x="6" y="3"/>
                  <a:pt x="6" y="5"/>
                  <a:pt x="6" y="4"/>
                </a:cubicBezTo>
                <a:cubicBezTo>
                  <a:pt x="4" y="5"/>
                  <a:pt x="4" y="6"/>
                  <a:pt x="2" y="6"/>
                </a:cubicBezTo>
                <a:cubicBezTo>
                  <a:pt x="1" y="6"/>
                  <a:pt x="1" y="5"/>
                  <a:pt x="1" y="4"/>
                </a:cubicBezTo>
                <a:cubicBezTo>
                  <a:pt x="1" y="4"/>
                  <a:pt x="1" y="4"/>
                  <a:pt x="0" y="3"/>
                </a:cubicBezTo>
                <a:cubicBezTo>
                  <a:pt x="0" y="3"/>
                  <a:pt x="1" y="2"/>
                  <a:pt x="0" y="1"/>
                </a:cubicBezTo>
                <a:cubicBezTo>
                  <a:pt x="1" y="1"/>
                  <a:pt x="1" y="1"/>
                  <a:pt x="1" y="0"/>
                </a:cubicBezTo>
                <a:cubicBezTo>
                  <a:pt x="2" y="0"/>
                  <a:pt x="3" y="0"/>
                  <a:pt x="3" y="0"/>
                </a:cubicBezTo>
                <a:cubicBezTo>
                  <a:pt x="3" y="1"/>
                  <a:pt x="6" y="0"/>
                  <a:pt x="7" y="1"/>
                </a:cubicBezTo>
                <a:cubicBezTo>
                  <a:pt x="7" y="1"/>
                  <a:pt x="8" y="1"/>
                  <a:pt x="8"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51" name="Freeform 107"/>
          <p:cNvSpPr/>
          <p:nvPr/>
        </p:nvSpPr>
        <p:spPr bwMode="auto">
          <a:xfrm>
            <a:off x="3708069" y="2073275"/>
            <a:ext cx="198438" cy="98425"/>
          </a:xfrm>
          <a:custGeom>
            <a:avLst/>
            <a:gdLst>
              <a:gd name="T0" fmla="*/ 15 w 20"/>
              <a:gd name="T1" fmla="*/ 0 h 10"/>
              <a:gd name="T2" fmla="*/ 17 w 20"/>
              <a:gd name="T3" fmla="*/ 1 h 10"/>
              <a:gd name="T4" fmla="*/ 18 w 20"/>
              <a:gd name="T5" fmla="*/ 2 h 10"/>
              <a:gd name="T6" fmla="*/ 17 w 20"/>
              <a:gd name="T7" fmla="*/ 3 h 10"/>
              <a:gd name="T8" fmla="*/ 20 w 20"/>
              <a:gd name="T9" fmla="*/ 4 h 10"/>
              <a:gd name="T10" fmla="*/ 18 w 20"/>
              <a:gd name="T11" fmla="*/ 7 h 10"/>
              <a:gd name="T12" fmla="*/ 17 w 20"/>
              <a:gd name="T13" fmla="*/ 7 h 10"/>
              <a:gd name="T14" fmla="*/ 15 w 20"/>
              <a:gd name="T15" fmla="*/ 8 h 10"/>
              <a:gd name="T16" fmla="*/ 14 w 20"/>
              <a:gd name="T17" fmla="*/ 9 h 10"/>
              <a:gd name="T18" fmla="*/ 13 w 20"/>
              <a:gd name="T19" fmla="*/ 9 h 10"/>
              <a:gd name="T20" fmla="*/ 7 w 20"/>
              <a:gd name="T21" fmla="*/ 10 h 10"/>
              <a:gd name="T22" fmla="*/ 7 w 20"/>
              <a:gd name="T23" fmla="*/ 9 h 10"/>
              <a:gd name="T24" fmla="*/ 5 w 20"/>
              <a:gd name="T25" fmla="*/ 8 h 10"/>
              <a:gd name="T26" fmla="*/ 4 w 20"/>
              <a:gd name="T27" fmla="*/ 8 h 10"/>
              <a:gd name="T28" fmla="*/ 5 w 20"/>
              <a:gd name="T29" fmla="*/ 7 h 10"/>
              <a:gd name="T30" fmla="*/ 3 w 20"/>
              <a:gd name="T31" fmla="*/ 6 h 10"/>
              <a:gd name="T32" fmla="*/ 3 w 20"/>
              <a:gd name="T33" fmla="*/ 4 h 10"/>
              <a:gd name="T34" fmla="*/ 1 w 20"/>
              <a:gd name="T35" fmla="*/ 4 h 10"/>
              <a:gd name="T36" fmla="*/ 2 w 20"/>
              <a:gd name="T37" fmla="*/ 2 h 10"/>
              <a:gd name="T38" fmla="*/ 5 w 20"/>
              <a:gd name="T39" fmla="*/ 2 h 10"/>
              <a:gd name="T40" fmla="*/ 6 w 20"/>
              <a:gd name="T41" fmla="*/ 4 h 10"/>
              <a:gd name="T42" fmla="*/ 7 w 20"/>
              <a:gd name="T43" fmla="*/ 2 h 10"/>
              <a:gd name="T44" fmla="*/ 10 w 20"/>
              <a:gd name="T45" fmla="*/ 3 h 10"/>
              <a:gd name="T46" fmla="*/ 11 w 20"/>
              <a:gd name="T47" fmla="*/ 2 h 10"/>
              <a:gd name="T48" fmla="*/ 14 w 20"/>
              <a:gd name="T49" fmla="*/ 2 h 10"/>
              <a:gd name="T50" fmla="*/ 15 w 20"/>
              <a:gd name="T5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10">
                <a:moveTo>
                  <a:pt x="15" y="0"/>
                </a:moveTo>
                <a:cubicBezTo>
                  <a:pt x="15" y="1"/>
                  <a:pt x="16" y="1"/>
                  <a:pt x="17" y="1"/>
                </a:cubicBezTo>
                <a:cubicBezTo>
                  <a:pt x="17" y="1"/>
                  <a:pt x="18" y="2"/>
                  <a:pt x="18" y="2"/>
                </a:cubicBezTo>
                <a:cubicBezTo>
                  <a:pt x="18" y="2"/>
                  <a:pt x="17" y="3"/>
                  <a:pt x="17" y="3"/>
                </a:cubicBezTo>
                <a:cubicBezTo>
                  <a:pt x="18" y="4"/>
                  <a:pt x="19" y="4"/>
                  <a:pt x="20" y="4"/>
                </a:cubicBezTo>
                <a:cubicBezTo>
                  <a:pt x="20" y="5"/>
                  <a:pt x="20" y="6"/>
                  <a:pt x="18" y="7"/>
                </a:cubicBezTo>
                <a:cubicBezTo>
                  <a:pt x="18" y="7"/>
                  <a:pt x="17" y="7"/>
                  <a:pt x="17" y="7"/>
                </a:cubicBezTo>
                <a:cubicBezTo>
                  <a:pt x="16" y="8"/>
                  <a:pt x="16" y="8"/>
                  <a:pt x="15" y="8"/>
                </a:cubicBezTo>
                <a:cubicBezTo>
                  <a:pt x="15" y="8"/>
                  <a:pt x="14" y="9"/>
                  <a:pt x="14" y="9"/>
                </a:cubicBezTo>
                <a:cubicBezTo>
                  <a:pt x="13" y="9"/>
                  <a:pt x="13" y="9"/>
                  <a:pt x="13" y="9"/>
                </a:cubicBezTo>
                <a:cubicBezTo>
                  <a:pt x="12" y="9"/>
                  <a:pt x="9" y="10"/>
                  <a:pt x="7" y="10"/>
                </a:cubicBezTo>
                <a:cubicBezTo>
                  <a:pt x="7" y="10"/>
                  <a:pt x="7" y="9"/>
                  <a:pt x="7" y="9"/>
                </a:cubicBezTo>
                <a:cubicBezTo>
                  <a:pt x="6" y="9"/>
                  <a:pt x="6" y="8"/>
                  <a:pt x="5" y="8"/>
                </a:cubicBezTo>
                <a:cubicBezTo>
                  <a:pt x="5" y="8"/>
                  <a:pt x="4" y="8"/>
                  <a:pt x="4" y="8"/>
                </a:cubicBezTo>
                <a:cubicBezTo>
                  <a:pt x="4" y="7"/>
                  <a:pt x="5" y="8"/>
                  <a:pt x="5" y="7"/>
                </a:cubicBezTo>
                <a:cubicBezTo>
                  <a:pt x="5" y="7"/>
                  <a:pt x="4" y="7"/>
                  <a:pt x="3" y="6"/>
                </a:cubicBezTo>
                <a:cubicBezTo>
                  <a:pt x="3" y="6"/>
                  <a:pt x="4" y="5"/>
                  <a:pt x="3" y="4"/>
                </a:cubicBezTo>
                <a:cubicBezTo>
                  <a:pt x="2" y="3"/>
                  <a:pt x="2" y="5"/>
                  <a:pt x="1" y="4"/>
                </a:cubicBezTo>
                <a:cubicBezTo>
                  <a:pt x="0" y="3"/>
                  <a:pt x="2" y="4"/>
                  <a:pt x="2" y="2"/>
                </a:cubicBezTo>
                <a:cubicBezTo>
                  <a:pt x="4" y="3"/>
                  <a:pt x="3" y="2"/>
                  <a:pt x="5" y="2"/>
                </a:cubicBezTo>
                <a:cubicBezTo>
                  <a:pt x="6" y="3"/>
                  <a:pt x="7" y="3"/>
                  <a:pt x="6" y="4"/>
                </a:cubicBezTo>
                <a:cubicBezTo>
                  <a:pt x="7" y="4"/>
                  <a:pt x="7" y="4"/>
                  <a:pt x="7" y="2"/>
                </a:cubicBezTo>
                <a:cubicBezTo>
                  <a:pt x="7" y="3"/>
                  <a:pt x="11" y="1"/>
                  <a:pt x="10" y="3"/>
                </a:cubicBezTo>
                <a:cubicBezTo>
                  <a:pt x="11" y="4"/>
                  <a:pt x="11" y="2"/>
                  <a:pt x="11" y="2"/>
                </a:cubicBezTo>
                <a:cubicBezTo>
                  <a:pt x="12" y="2"/>
                  <a:pt x="13" y="2"/>
                  <a:pt x="14" y="2"/>
                </a:cubicBezTo>
                <a:cubicBezTo>
                  <a:pt x="14" y="2"/>
                  <a:pt x="15" y="1"/>
                  <a:pt x="15"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52" name="Freeform 108"/>
          <p:cNvSpPr/>
          <p:nvPr/>
        </p:nvSpPr>
        <p:spPr bwMode="auto">
          <a:xfrm>
            <a:off x="2522207" y="2101850"/>
            <a:ext cx="119063" cy="79375"/>
          </a:xfrm>
          <a:custGeom>
            <a:avLst/>
            <a:gdLst>
              <a:gd name="T0" fmla="*/ 4 w 12"/>
              <a:gd name="T1" fmla="*/ 0 h 8"/>
              <a:gd name="T2" fmla="*/ 6 w 12"/>
              <a:gd name="T3" fmla="*/ 3 h 8"/>
              <a:gd name="T4" fmla="*/ 7 w 12"/>
              <a:gd name="T5" fmla="*/ 2 h 8"/>
              <a:gd name="T6" fmla="*/ 9 w 12"/>
              <a:gd name="T7" fmla="*/ 3 h 8"/>
              <a:gd name="T8" fmla="*/ 11 w 12"/>
              <a:gd name="T9" fmla="*/ 6 h 8"/>
              <a:gd name="T10" fmla="*/ 12 w 12"/>
              <a:gd name="T11" fmla="*/ 6 h 8"/>
              <a:gd name="T12" fmla="*/ 6 w 12"/>
              <a:gd name="T13" fmla="*/ 7 h 8"/>
              <a:gd name="T14" fmla="*/ 4 w 12"/>
              <a:gd name="T15" fmla="*/ 8 h 8"/>
              <a:gd name="T16" fmla="*/ 0 w 12"/>
              <a:gd name="T17" fmla="*/ 7 h 8"/>
              <a:gd name="T18" fmla="*/ 1 w 12"/>
              <a:gd name="T19" fmla="*/ 6 h 8"/>
              <a:gd name="T20" fmla="*/ 2 w 12"/>
              <a:gd name="T21" fmla="*/ 5 h 8"/>
              <a:gd name="T22" fmla="*/ 2 w 12"/>
              <a:gd name="T23" fmla="*/ 1 h 8"/>
              <a:gd name="T24" fmla="*/ 4 w 12"/>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8">
                <a:moveTo>
                  <a:pt x="4" y="0"/>
                </a:moveTo>
                <a:cubicBezTo>
                  <a:pt x="4" y="1"/>
                  <a:pt x="7" y="0"/>
                  <a:pt x="6" y="3"/>
                </a:cubicBezTo>
                <a:cubicBezTo>
                  <a:pt x="7" y="3"/>
                  <a:pt x="7" y="2"/>
                  <a:pt x="7" y="2"/>
                </a:cubicBezTo>
                <a:cubicBezTo>
                  <a:pt x="8" y="2"/>
                  <a:pt x="8" y="3"/>
                  <a:pt x="9" y="3"/>
                </a:cubicBezTo>
                <a:cubicBezTo>
                  <a:pt x="9" y="4"/>
                  <a:pt x="10" y="5"/>
                  <a:pt x="11" y="6"/>
                </a:cubicBezTo>
                <a:cubicBezTo>
                  <a:pt x="12" y="5"/>
                  <a:pt x="12" y="5"/>
                  <a:pt x="12" y="6"/>
                </a:cubicBezTo>
                <a:cubicBezTo>
                  <a:pt x="11" y="7"/>
                  <a:pt x="8" y="6"/>
                  <a:pt x="6" y="7"/>
                </a:cubicBezTo>
                <a:cubicBezTo>
                  <a:pt x="6" y="7"/>
                  <a:pt x="4" y="7"/>
                  <a:pt x="4" y="8"/>
                </a:cubicBezTo>
                <a:cubicBezTo>
                  <a:pt x="3" y="8"/>
                  <a:pt x="2" y="6"/>
                  <a:pt x="0" y="7"/>
                </a:cubicBezTo>
                <a:cubicBezTo>
                  <a:pt x="0" y="6"/>
                  <a:pt x="1" y="6"/>
                  <a:pt x="1" y="6"/>
                </a:cubicBezTo>
                <a:cubicBezTo>
                  <a:pt x="1" y="6"/>
                  <a:pt x="1" y="5"/>
                  <a:pt x="2" y="5"/>
                </a:cubicBezTo>
                <a:cubicBezTo>
                  <a:pt x="1" y="4"/>
                  <a:pt x="2" y="3"/>
                  <a:pt x="2" y="1"/>
                </a:cubicBezTo>
                <a:cubicBezTo>
                  <a:pt x="3" y="1"/>
                  <a:pt x="4" y="1"/>
                  <a:pt x="4"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53" name="Freeform 109"/>
          <p:cNvSpPr/>
          <p:nvPr/>
        </p:nvSpPr>
        <p:spPr bwMode="auto">
          <a:xfrm>
            <a:off x="5951207" y="3463925"/>
            <a:ext cx="207963" cy="217487"/>
          </a:xfrm>
          <a:custGeom>
            <a:avLst/>
            <a:gdLst>
              <a:gd name="T0" fmla="*/ 2 w 21"/>
              <a:gd name="T1" fmla="*/ 3 h 22"/>
              <a:gd name="T2" fmla="*/ 1 w 21"/>
              <a:gd name="T3" fmla="*/ 3 h 22"/>
              <a:gd name="T4" fmla="*/ 0 w 21"/>
              <a:gd name="T5" fmla="*/ 1 h 22"/>
              <a:gd name="T6" fmla="*/ 4 w 21"/>
              <a:gd name="T7" fmla="*/ 1 h 22"/>
              <a:gd name="T8" fmla="*/ 6 w 21"/>
              <a:gd name="T9" fmla="*/ 2 h 22"/>
              <a:gd name="T10" fmla="*/ 6 w 21"/>
              <a:gd name="T11" fmla="*/ 3 h 22"/>
              <a:gd name="T12" fmla="*/ 7 w 21"/>
              <a:gd name="T13" fmla="*/ 4 h 22"/>
              <a:gd name="T14" fmla="*/ 9 w 21"/>
              <a:gd name="T15" fmla="*/ 5 h 22"/>
              <a:gd name="T16" fmla="*/ 12 w 21"/>
              <a:gd name="T17" fmla="*/ 7 h 22"/>
              <a:gd name="T18" fmla="*/ 13 w 21"/>
              <a:gd name="T19" fmla="*/ 9 h 22"/>
              <a:gd name="T20" fmla="*/ 14 w 21"/>
              <a:gd name="T21" fmla="*/ 9 h 22"/>
              <a:gd name="T22" fmla="*/ 15 w 21"/>
              <a:gd name="T23" fmla="*/ 10 h 22"/>
              <a:gd name="T24" fmla="*/ 15 w 21"/>
              <a:gd name="T25" fmla="*/ 11 h 22"/>
              <a:gd name="T26" fmla="*/ 16 w 21"/>
              <a:gd name="T27" fmla="*/ 12 h 22"/>
              <a:gd name="T28" fmla="*/ 18 w 21"/>
              <a:gd name="T29" fmla="*/ 13 h 22"/>
              <a:gd name="T30" fmla="*/ 19 w 21"/>
              <a:gd name="T31" fmla="*/ 14 h 22"/>
              <a:gd name="T32" fmla="*/ 20 w 21"/>
              <a:gd name="T33" fmla="*/ 17 h 22"/>
              <a:gd name="T34" fmla="*/ 20 w 21"/>
              <a:gd name="T35" fmla="*/ 19 h 22"/>
              <a:gd name="T36" fmla="*/ 21 w 21"/>
              <a:gd name="T37" fmla="*/ 20 h 22"/>
              <a:gd name="T38" fmla="*/ 18 w 21"/>
              <a:gd name="T39" fmla="*/ 20 h 22"/>
              <a:gd name="T40" fmla="*/ 16 w 21"/>
              <a:gd name="T41" fmla="*/ 20 h 22"/>
              <a:gd name="T42" fmla="*/ 16 w 21"/>
              <a:gd name="T43" fmla="*/ 20 h 22"/>
              <a:gd name="T44" fmla="*/ 15 w 21"/>
              <a:gd name="T45" fmla="*/ 20 h 22"/>
              <a:gd name="T46" fmla="*/ 13 w 21"/>
              <a:gd name="T47" fmla="*/ 18 h 22"/>
              <a:gd name="T48" fmla="*/ 14 w 21"/>
              <a:gd name="T49" fmla="*/ 17 h 22"/>
              <a:gd name="T50" fmla="*/ 13 w 21"/>
              <a:gd name="T51" fmla="*/ 17 h 22"/>
              <a:gd name="T52" fmla="*/ 13 w 21"/>
              <a:gd name="T53" fmla="*/ 16 h 22"/>
              <a:gd name="T54" fmla="*/ 12 w 21"/>
              <a:gd name="T55" fmla="*/ 16 h 22"/>
              <a:gd name="T56" fmla="*/ 10 w 21"/>
              <a:gd name="T57" fmla="*/ 14 h 22"/>
              <a:gd name="T58" fmla="*/ 9 w 21"/>
              <a:gd name="T59" fmla="*/ 11 h 22"/>
              <a:gd name="T60" fmla="*/ 8 w 21"/>
              <a:gd name="T61" fmla="*/ 12 h 22"/>
              <a:gd name="T62" fmla="*/ 7 w 21"/>
              <a:gd name="T63" fmla="*/ 9 h 22"/>
              <a:gd name="T64" fmla="*/ 7 w 21"/>
              <a:gd name="T65" fmla="*/ 8 h 22"/>
              <a:gd name="T66" fmla="*/ 6 w 21"/>
              <a:gd name="T67" fmla="*/ 8 h 22"/>
              <a:gd name="T68" fmla="*/ 5 w 21"/>
              <a:gd name="T69" fmla="*/ 6 h 22"/>
              <a:gd name="T70" fmla="*/ 4 w 21"/>
              <a:gd name="T71" fmla="*/ 5 h 22"/>
              <a:gd name="T72" fmla="*/ 3 w 21"/>
              <a:gd name="T73" fmla="*/ 4 h 22"/>
              <a:gd name="T74" fmla="*/ 2 w 21"/>
              <a:gd name="T75"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 h="22">
                <a:moveTo>
                  <a:pt x="2" y="3"/>
                </a:moveTo>
                <a:cubicBezTo>
                  <a:pt x="2" y="3"/>
                  <a:pt x="2" y="3"/>
                  <a:pt x="1" y="3"/>
                </a:cubicBezTo>
                <a:cubicBezTo>
                  <a:pt x="1" y="2"/>
                  <a:pt x="1" y="1"/>
                  <a:pt x="0" y="1"/>
                </a:cubicBezTo>
                <a:cubicBezTo>
                  <a:pt x="2" y="0"/>
                  <a:pt x="3" y="2"/>
                  <a:pt x="4" y="1"/>
                </a:cubicBezTo>
                <a:cubicBezTo>
                  <a:pt x="4" y="2"/>
                  <a:pt x="6" y="1"/>
                  <a:pt x="6" y="2"/>
                </a:cubicBezTo>
                <a:cubicBezTo>
                  <a:pt x="6" y="2"/>
                  <a:pt x="6" y="3"/>
                  <a:pt x="6" y="3"/>
                </a:cubicBezTo>
                <a:cubicBezTo>
                  <a:pt x="6" y="3"/>
                  <a:pt x="7" y="3"/>
                  <a:pt x="7" y="4"/>
                </a:cubicBezTo>
                <a:cubicBezTo>
                  <a:pt x="8" y="3"/>
                  <a:pt x="8" y="5"/>
                  <a:pt x="9" y="5"/>
                </a:cubicBezTo>
                <a:cubicBezTo>
                  <a:pt x="10" y="5"/>
                  <a:pt x="11" y="7"/>
                  <a:pt x="12" y="7"/>
                </a:cubicBezTo>
                <a:cubicBezTo>
                  <a:pt x="13" y="7"/>
                  <a:pt x="13" y="8"/>
                  <a:pt x="13" y="9"/>
                </a:cubicBezTo>
                <a:cubicBezTo>
                  <a:pt x="13" y="9"/>
                  <a:pt x="14" y="9"/>
                  <a:pt x="14" y="9"/>
                </a:cubicBezTo>
                <a:cubicBezTo>
                  <a:pt x="15" y="9"/>
                  <a:pt x="15" y="10"/>
                  <a:pt x="15" y="10"/>
                </a:cubicBezTo>
                <a:cubicBezTo>
                  <a:pt x="16" y="10"/>
                  <a:pt x="15" y="11"/>
                  <a:pt x="15" y="11"/>
                </a:cubicBezTo>
                <a:cubicBezTo>
                  <a:pt x="16" y="11"/>
                  <a:pt x="16" y="12"/>
                  <a:pt x="16" y="12"/>
                </a:cubicBezTo>
                <a:cubicBezTo>
                  <a:pt x="17" y="12"/>
                  <a:pt x="17" y="13"/>
                  <a:pt x="18" y="13"/>
                </a:cubicBezTo>
                <a:cubicBezTo>
                  <a:pt x="18" y="13"/>
                  <a:pt x="19" y="14"/>
                  <a:pt x="19" y="14"/>
                </a:cubicBezTo>
                <a:cubicBezTo>
                  <a:pt x="19" y="15"/>
                  <a:pt x="19" y="17"/>
                  <a:pt x="20" y="17"/>
                </a:cubicBezTo>
                <a:cubicBezTo>
                  <a:pt x="20" y="17"/>
                  <a:pt x="20" y="18"/>
                  <a:pt x="20" y="19"/>
                </a:cubicBezTo>
                <a:cubicBezTo>
                  <a:pt x="20" y="19"/>
                  <a:pt x="19" y="20"/>
                  <a:pt x="21" y="20"/>
                </a:cubicBezTo>
                <a:cubicBezTo>
                  <a:pt x="20" y="22"/>
                  <a:pt x="19" y="21"/>
                  <a:pt x="18" y="20"/>
                </a:cubicBezTo>
                <a:cubicBezTo>
                  <a:pt x="18" y="20"/>
                  <a:pt x="17" y="21"/>
                  <a:pt x="16" y="20"/>
                </a:cubicBezTo>
                <a:cubicBezTo>
                  <a:pt x="16" y="20"/>
                  <a:pt x="16" y="20"/>
                  <a:pt x="16" y="20"/>
                </a:cubicBezTo>
                <a:cubicBezTo>
                  <a:pt x="16" y="19"/>
                  <a:pt x="16" y="20"/>
                  <a:pt x="15" y="20"/>
                </a:cubicBezTo>
                <a:cubicBezTo>
                  <a:pt x="15" y="19"/>
                  <a:pt x="14" y="18"/>
                  <a:pt x="13" y="18"/>
                </a:cubicBezTo>
                <a:cubicBezTo>
                  <a:pt x="13" y="17"/>
                  <a:pt x="14" y="17"/>
                  <a:pt x="14" y="17"/>
                </a:cubicBezTo>
                <a:cubicBezTo>
                  <a:pt x="13" y="16"/>
                  <a:pt x="13" y="16"/>
                  <a:pt x="13" y="17"/>
                </a:cubicBezTo>
                <a:cubicBezTo>
                  <a:pt x="13" y="17"/>
                  <a:pt x="13" y="16"/>
                  <a:pt x="13" y="16"/>
                </a:cubicBezTo>
                <a:cubicBezTo>
                  <a:pt x="12" y="16"/>
                  <a:pt x="12" y="16"/>
                  <a:pt x="12" y="16"/>
                </a:cubicBezTo>
                <a:cubicBezTo>
                  <a:pt x="11" y="15"/>
                  <a:pt x="11" y="14"/>
                  <a:pt x="10" y="14"/>
                </a:cubicBezTo>
                <a:cubicBezTo>
                  <a:pt x="10" y="12"/>
                  <a:pt x="9" y="12"/>
                  <a:pt x="9" y="11"/>
                </a:cubicBezTo>
                <a:cubicBezTo>
                  <a:pt x="8" y="11"/>
                  <a:pt x="9" y="11"/>
                  <a:pt x="8" y="12"/>
                </a:cubicBezTo>
                <a:cubicBezTo>
                  <a:pt x="8" y="11"/>
                  <a:pt x="8" y="10"/>
                  <a:pt x="7" y="9"/>
                </a:cubicBezTo>
                <a:cubicBezTo>
                  <a:pt x="7" y="9"/>
                  <a:pt x="7" y="9"/>
                  <a:pt x="7" y="8"/>
                </a:cubicBezTo>
                <a:cubicBezTo>
                  <a:pt x="6" y="8"/>
                  <a:pt x="6" y="8"/>
                  <a:pt x="6" y="8"/>
                </a:cubicBezTo>
                <a:cubicBezTo>
                  <a:pt x="6" y="7"/>
                  <a:pt x="5" y="7"/>
                  <a:pt x="5" y="6"/>
                </a:cubicBezTo>
                <a:cubicBezTo>
                  <a:pt x="5" y="5"/>
                  <a:pt x="4" y="5"/>
                  <a:pt x="4" y="5"/>
                </a:cubicBezTo>
                <a:cubicBezTo>
                  <a:pt x="4" y="5"/>
                  <a:pt x="3" y="4"/>
                  <a:pt x="3" y="4"/>
                </a:cubicBezTo>
                <a:cubicBezTo>
                  <a:pt x="2" y="3"/>
                  <a:pt x="4" y="2"/>
                  <a:pt x="2" y="3"/>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54" name="Freeform 110"/>
          <p:cNvSpPr/>
          <p:nvPr/>
        </p:nvSpPr>
        <p:spPr bwMode="auto">
          <a:xfrm>
            <a:off x="4973307" y="3800475"/>
            <a:ext cx="147638" cy="258762"/>
          </a:xfrm>
          <a:custGeom>
            <a:avLst/>
            <a:gdLst>
              <a:gd name="T0" fmla="*/ 11 w 15"/>
              <a:gd name="T1" fmla="*/ 0 h 26"/>
              <a:gd name="T2" fmla="*/ 13 w 15"/>
              <a:gd name="T3" fmla="*/ 0 h 26"/>
              <a:gd name="T4" fmla="*/ 12 w 15"/>
              <a:gd name="T5" fmla="*/ 8 h 26"/>
              <a:gd name="T6" fmla="*/ 11 w 15"/>
              <a:gd name="T7" fmla="*/ 14 h 26"/>
              <a:gd name="T8" fmla="*/ 10 w 15"/>
              <a:gd name="T9" fmla="*/ 16 h 26"/>
              <a:gd name="T10" fmla="*/ 9 w 15"/>
              <a:gd name="T11" fmla="*/ 19 h 26"/>
              <a:gd name="T12" fmla="*/ 9 w 15"/>
              <a:gd name="T13" fmla="*/ 20 h 26"/>
              <a:gd name="T14" fmla="*/ 8 w 15"/>
              <a:gd name="T15" fmla="*/ 21 h 26"/>
              <a:gd name="T16" fmla="*/ 8 w 15"/>
              <a:gd name="T17" fmla="*/ 23 h 26"/>
              <a:gd name="T18" fmla="*/ 8 w 15"/>
              <a:gd name="T19" fmla="*/ 24 h 26"/>
              <a:gd name="T20" fmla="*/ 7 w 15"/>
              <a:gd name="T21" fmla="*/ 25 h 26"/>
              <a:gd name="T22" fmla="*/ 2 w 15"/>
              <a:gd name="T23" fmla="*/ 26 h 26"/>
              <a:gd name="T24" fmla="*/ 2 w 15"/>
              <a:gd name="T25" fmla="*/ 23 h 26"/>
              <a:gd name="T26" fmla="*/ 1 w 15"/>
              <a:gd name="T27" fmla="*/ 22 h 26"/>
              <a:gd name="T28" fmla="*/ 1 w 15"/>
              <a:gd name="T29" fmla="*/ 22 h 26"/>
              <a:gd name="T30" fmla="*/ 1 w 15"/>
              <a:gd name="T31" fmla="*/ 20 h 26"/>
              <a:gd name="T32" fmla="*/ 1 w 15"/>
              <a:gd name="T33" fmla="*/ 20 h 26"/>
              <a:gd name="T34" fmla="*/ 1 w 15"/>
              <a:gd name="T35" fmla="*/ 19 h 26"/>
              <a:gd name="T36" fmla="*/ 1 w 15"/>
              <a:gd name="T37" fmla="*/ 17 h 26"/>
              <a:gd name="T38" fmla="*/ 1 w 15"/>
              <a:gd name="T39" fmla="*/ 16 h 26"/>
              <a:gd name="T40" fmla="*/ 2 w 15"/>
              <a:gd name="T41" fmla="*/ 16 h 26"/>
              <a:gd name="T42" fmla="*/ 3 w 15"/>
              <a:gd name="T43" fmla="*/ 14 h 26"/>
              <a:gd name="T44" fmla="*/ 2 w 15"/>
              <a:gd name="T45" fmla="*/ 12 h 26"/>
              <a:gd name="T46" fmla="*/ 2 w 15"/>
              <a:gd name="T47" fmla="*/ 9 h 26"/>
              <a:gd name="T48" fmla="*/ 3 w 15"/>
              <a:gd name="T49" fmla="*/ 8 h 26"/>
              <a:gd name="T50" fmla="*/ 5 w 15"/>
              <a:gd name="T51" fmla="*/ 7 h 26"/>
              <a:gd name="T52" fmla="*/ 7 w 15"/>
              <a:gd name="T53" fmla="*/ 6 h 26"/>
              <a:gd name="T54" fmla="*/ 8 w 15"/>
              <a:gd name="T55" fmla="*/ 6 h 26"/>
              <a:gd name="T56" fmla="*/ 9 w 15"/>
              <a:gd name="T57" fmla="*/ 3 h 26"/>
              <a:gd name="T58" fmla="*/ 10 w 15"/>
              <a:gd name="T59" fmla="*/ 3 h 26"/>
              <a:gd name="T60" fmla="*/ 11 w 15"/>
              <a:gd name="T6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26">
                <a:moveTo>
                  <a:pt x="11" y="0"/>
                </a:moveTo>
                <a:cubicBezTo>
                  <a:pt x="12" y="0"/>
                  <a:pt x="12" y="0"/>
                  <a:pt x="13" y="0"/>
                </a:cubicBezTo>
                <a:cubicBezTo>
                  <a:pt x="12" y="2"/>
                  <a:pt x="15" y="7"/>
                  <a:pt x="12" y="8"/>
                </a:cubicBezTo>
                <a:cubicBezTo>
                  <a:pt x="12" y="11"/>
                  <a:pt x="12" y="12"/>
                  <a:pt x="11" y="14"/>
                </a:cubicBezTo>
                <a:cubicBezTo>
                  <a:pt x="11" y="15"/>
                  <a:pt x="11" y="16"/>
                  <a:pt x="10" y="16"/>
                </a:cubicBezTo>
                <a:cubicBezTo>
                  <a:pt x="10" y="18"/>
                  <a:pt x="10" y="18"/>
                  <a:pt x="9" y="19"/>
                </a:cubicBezTo>
                <a:cubicBezTo>
                  <a:pt x="9" y="19"/>
                  <a:pt x="10" y="20"/>
                  <a:pt x="9" y="20"/>
                </a:cubicBezTo>
                <a:cubicBezTo>
                  <a:pt x="9" y="20"/>
                  <a:pt x="9" y="20"/>
                  <a:pt x="8" y="21"/>
                </a:cubicBezTo>
                <a:cubicBezTo>
                  <a:pt x="8" y="21"/>
                  <a:pt x="8" y="22"/>
                  <a:pt x="8" y="23"/>
                </a:cubicBezTo>
                <a:cubicBezTo>
                  <a:pt x="8" y="24"/>
                  <a:pt x="8" y="23"/>
                  <a:pt x="8" y="24"/>
                </a:cubicBezTo>
                <a:cubicBezTo>
                  <a:pt x="8" y="24"/>
                  <a:pt x="7" y="25"/>
                  <a:pt x="7" y="25"/>
                </a:cubicBezTo>
                <a:cubicBezTo>
                  <a:pt x="6" y="26"/>
                  <a:pt x="4" y="26"/>
                  <a:pt x="2" y="26"/>
                </a:cubicBezTo>
                <a:cubicBezTo>
                  <a:pt x="3" y="25"/>
                  <a:pt x="2" y="25"/>
                  <a:pt x="2" y="23"/>
                </a:cubicBezTo>
                <a:cubicBezTo>
                  <a:pt x="2" y="23"/>
                  <a:pt x="2" y="23"/>
                  <a:pt x="1" y="22"/>
                </a:cubicBezTo>
                <a:cubicBezTo>
                  <a:pt x="1" y="22"/>
                  <a:pt x="1" y="22"/>
                  <a:pt x="1" y="22"/>
                </a:cubicBezTo>
                <a:cubicBezTo>
                  <a:pt x="1" y="21"/>
                  <a:pt x="0" y="21"/>
                  <a:pt x="1" y="20"/>
                </a:cubicBezTo>
                <a:cubicBezTo>
                  <a:pt x="1" y="20"/>
                  <a:pt x="1" y="20"/>
                  <a:pt x="1" y="20"/>
                </a:cubicBezTo>
                <a:cubicBezTo>
                  <a:pt x="1" y="19"/>
                  <a:pt x="1" y="19"/>
                  <a:pt x="1" y="19"/>
                </a:cubicBezTo>
                <a:cubicBezTo>
                  <a:pt x="1" y="18"/>
                  <a:pt x="1" y="18"/>
                  <a:pt x="1" y="17"/>
                </a:cubicBezTo>
                <a:cubicBezTo>
                  <a:pt x="2" y="17"/>
                  <a:pt x="1" y="16"/>
                  <a:pt x="1" y="16"/>
                </a:cubicBezTo>
                <a:cubicBezTo>
                  <a:pt x="2" y="16"/>
                  <a:pt x="2" y="16"/>
                  <a:pt x="2" y="16"/>
                </a:cubicBezTo>
                <a:cubicBezTo>
                  <a:pt x="3" y="15"/>
                  <a:pt x="2" y="12"/>
                  <a:pt x="3" y="14"/>
                </a:cubicBezTo>
                <a:cubicBezTo>
                  <a:pt x="4" y="13"/>
                  <a:pt x="2" y="13"/>
                  <a:pt x="2" y="12"/>
                </a:cubicBezTo>
                <a:cubicBezTo>
                  <a:pt x="2" y="11"/>
                  <a:pt x="2" y="10"/>
                  <a:pt x="2" y="9"/>
                </a:cubicBezTo>
                <a:cubicBezTo>
                  <a:pt x="3" y="10"/>
                  <a:pt x="3" y="9"/>
                  <a:pt x="3" y="8"/>
                </a:cubicBezTo>
                <a:cubicBezTo>
                  <a:pt x="4" y="9"/>
                  <a:pt x="4" y="8"/>
                  <a:pt x="5" y="7"/>
                </a:cubicBezTo>
                <a:cubicBezTo>
                  <a:pt x="5" y="7"/>
                  <a:pt x="7" y="7"/>
                  <a:pt x="7" y="6"/>
                </a:cubicBezTo>
                <a:cubicBezTo>
                  <a:pt x="8" y="5"/>
                  <a:pt x="8" y="6"/>
                  <a:pt x="8" y="6"/>
                </a:cubicBezTo>
                <a:cubicBezTo>
                  <a:pt x="8" y="5"/>
                  <a:pt x="9" y="4"/>
                  <a:pt x="9" y="3"/>
                </a:cubicBezTo>
                <a:cubicBezTo>
                  <a:pt x="10" y="4"/>
                  <a:pt x="10" y="0"/>
                  <a:pt x="10" y="3"/>
                </a:cubicBezTo>
                <a:cubicBezTo>
                  <a:pt x="12" y="2"/>
                  <a:pt x="11" y="0"/>
                  <a:pt x="11" y="0"/>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55" name="Freeform 111"/>
          <p:cNvSpPr/>
          <p:nvPr/>
        </p:nvSpPr>
        <p:spPr bwMode="auto">
          <a:xfrm>
            <a:off x="6287757" y="3781425"/>
            <a:ext cx="760413" cy="565150"/>
          </a:xfrm>
          <a:custGeom>
            <a:avLst/>
            <a:gdLst>
              <a:gd name="T0" fmla="*/ 45 w 77"/>
              <a:gd name="T1" fmla="*/ 5 h 57"/>
              <a:gd name="T2" fmla="*/ 43 w 77"/>
              <a:gd name="T3" fmla="*/ 6 h 57"/>
              <a:gd name="T4" fmla="*/ 45 w 77"/>
              <a:gd name="T5" fmla="*/ 9 h 57"/>
              <a:gd name="T6" fmla="*/ 52 w 77"/>
              <a:gd name="T7" fmla="*/ 12 h 57"/>
              <a:gd name="T8" fmla="*/ 54 w 77"/>
              <a:gd name="T9" fmla="*/ 9 h 57"/>
              <a:gd name="T10" fmla="*/ 54 w 77"/>
              <a:gd name="T11" fmla="*/ 8 h 57"/>
              <a:gd name="T12" fmla="*/ 55 w 77"/>
              <a:gd name="T13" fmla="*/ 3 h 57"/>
              <a:gd name="T14" fmla="*/ 56 w 77"/>
              <a:gd name="T15" fmla="*/ 1 h 57"/>
              <a:gd name="T16" fmla="*/ 57 w 77"/>
              <a:gd name="T17" fmla="*/ 3 h 57"/>
              <a:gd name="T18" fmla="*/ 60 w 77"/>
              <a:gd name="T19" fmla="*/ 8 h 57"/>
              <a:gd name="T20" fmla="*/ 62 w 77"/>
              <a:gd name="T21" fmla="*/ 11 h 57"/>
              <a:gd name="T22" fmla="*/ 64 w 77"/>
              <a:gd name="T23" fmla="*/ 14 h 57"/>
              <a:gd name="T24" fmla="*/ 66 w 77"/>
              <a:gd name="T25" fmla="*/ 18 h 57"/>
              <a:gd name="T26" fmla="*/ 67 w 77"/>
              <a:gd name="T27" fmla="*/ 19 h 57"/>
              <a:gd name="T28" fmla="*/ 70 w 77"/>
              <a:gd name="T29" fmla="*/ 21 h 57"/>
              <a:gd name="T30" fmla="*/ 72 w 77"/>
              <a:gd name="T31" fmla="*/ 25 h 57"/>
              <a:gd name="T32" fmla="*/ 73 w 77"/>
              <a:gd name="T33" fmla="*/ 26 h 57"/>
              <a:gd name="T34" fmla="*/ 76 w 77"/>
              <a:gd name="T35" fmla="*/ 28 h 57"/>
              <a:gd name="T36" fmla="*/ 77 w 77"/>
              <a:gd name="T37" fmla="*/ 36 h 57"/>
              <a:gd name="T38" fmla="*/ 76 w 77"/>
              <a:gd name="T39" fmla="*/ 40 h 57"/>
              <a:gd name="T40" fmla="*/ 76 w 77"/>
              <a:gd name="T41" fmla="*/ 41 h 57"/>
              <a:gd name="T42" fmla="*/ 75 w 77"/>
              <a:gd name="T43" fmla="*/ 44 h 57"/>
              <a:gd name="T44" fmla="*/ 72 w 77"/>
              <a:gd name="T45" fmla="*/ 46 h 57"/>
              <a:gd name="T46" fmla="*/ 70 w 77"/>
              <a:gd name="T47" fmla="*/ 53 h 57"/>
              <a:gd name="T48" fmla="*/ 65 w 77"/>
              <a:gd name="T49" fmla="*/ 55 h 57"/>
              <a:gd name="T50" fmla="*/ 64 w 77"/>
              <a:gd name="T51" fmla="*/ 57 h 57"/>
              <a:gd name="T52" fmla="*/ 60 w 77"/>
              <a:gd name="T53" fmla="*/ 56 h 57"/>
              <a:gd name="T54" fmla="*/ 51 w 77"/>
              <a:gd name="T55" fmla="*/ 54 h 57"/>
              <a:gd name="T56" fmla="*/ 51 w 77"/>
              <a:gd name="T57" fmla="*/ 51 h 57"/>
              <a:gd name="T58" fmla="*/ 50 w 77"/>
              <a:gd name="T59" fmla="*/ 50 h 57"/>
              <a:gd name="T60" fmla="*/ 47 w 77"/>
              <a:gd name="T61" fmla="*/ 47 h 57"/>
              <a:gd name="T62" fmla="*/ 45 w 77"/>
              <a:gd name="T63" fmla="*/ 45 h 57"/>
              <a:gd name="T64" fmla="*/ 41 w 77"/>
              <a:gd name="T65" fmla="*/ 44 h 57"/>
              <a:gd name="T66" fmla="*/ 39 w 77"/>
              <a:gd name="T67" fmla="*/ 43 h 57"/>
              <a:gd name="T68" fmla="*/ 30 w 77"/>
              <a:gd name="T69" fmla="*/ 41 h 57"/>
              <a:gd name="T70" fmla="*/ 26 w 77"/>
              <a:gd name="T71" fmla="*/ 42 h 57"/>
              <a:gd name="T72" fmla="*/ 24 w 77"/>
              <a:gd name="T73" fmla="*/ 43 h 57"/>
              <a:gd name="T74" fmla="*/ 22 w 77"/>
              <a:gd name="T75" fmla="*/ 44 h 57"/>
              <a:gd name="T76" fmla="*/ 22 w 77"/>
              <a:gd name="T77" fmla="*/ 44 h 57"/>
              <a:gd name="T78" fmla="*/ 13 w 77"/>
              <a:gd name="T79" fmla="*/ 46 h 57"/>
              <a:gd name="T80" fmla="*/ 12 w 77"/>
              <a:gd name="T81" fmla="*/ 47 h 57"/>
              <a:gd name="T82" fmla="*/ 4 w 77"/>
              <a:gd name="T83" fmla="*/ 48 h 57"/>
              <a:gd name="T84" fmla="*/ 5 w 77"/>
              <a:gd name="T85" fmla="*/ 43 h 57"/>
              <a:gd name="T86" fmla="*/ 4 w 77"/>
              <a:gd name="T87" fmla="*/ 40 h 57"/>
              <a:gd name="T88" fmla="*/ 4 w 77"/>
              <a:gd name="T89" fmla="*/ 38 h 57"/>
              <a:gd name="T90" fmla="*/ 2 w 77"/>
              <a:gd name="T91" fmla="*/ 36 h 57"/>
              <a:gd name="T92" fmla="*/ 2 w 77"/>
              <a:gd name="T93" fmla="*/ 33 h 57"/>
              <a:gd name="T94" fmla="*/ 1 w 77"/>
              <a:gd name="T95" fmla="*/ 30 h 57"/>
              <a:gd name="T96" fmla="*/ 1 w 77"/>
              <a:gd name="T97" fmla="*/ 28 h 57"/>
              <a:gd name="T98" fmla="*/ 1 w 77"/>
              <a:gd name="T99" fmla="*/ 22 h 57"/>
              <a:gd name="T100" fmla="*/ 7 w 77"/>
              <a:gd name="T101" fmla="*/ 19 h 57"/>
              <a:gd name="T102" fmla="*/ 13 w 77"/>
              <a:gd name="T103" fmla="*/ 17 h 57"/>
              <a:gd name="T104" fmla="*/ 16 w 77"/>
              <a:gd name="T105" fmla="*/ 16 h 57"/>
              <a:gd name="T106" fmla="*/ 17 w 77"/>
              <a:gd name="T107" fmla="*/ 11 h 57"/>
              <a:gd name="T108" fmla="*/ 22 w 77"/>
              <a:gd name="T109" fmla="*/ 11 h 57"/>
              <a:gd name="T110" fmla="*/ 22 w 77"/>
              <a:gd name="T111" fmla="*/ 8 h 57"/>
              <a:gd name="T112" fmla="*/ 26 w 77"/>
              <a:gd name="T113" fmla="*/ 5 h 57"/>
              <a:gd name="T114" fmla="*/ 29 w 77"/>
              <a:gd name="T115" fmla="*/ 7 h 57"/>
              <a:gd name="T116" fmla="*/ 30 w 77"/>
              <a:gd name="T117" fmla="*/ 7 h 57"/>
              <a:gd name="T118" fmla="*/ 31 w 77"/>
              <a:gd name="T119" fmla="*/ 6 h 57"/>
              <a:gd name="T120" fmla="*/ 34 w 77"/>
              <a:gd name="T121" fmla="*/ 3 h 57"/>
              <a:gd name="T122" fmla="*/ 36 w 77"/>
              <a:gd name="T123"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 h="57">
                <a:moveTo>
                  <a:pt x="45" y="2"/>
                </a:moveTo>
                <a:cubicBezTo>
                  <a:pt x="45" y="3"/>
                  <a:pt x="45" y="4"/>
                  <a:pt x="45" y="5"/>
                </a:cubicBezTo>
                <a:cubicBezTo>
                  <a:pt x="44" y="5"/>
                  <a:pt x="44" y="5"/>
                  <a:pt x="43" y="5"/>
                </a:cubicBezTo>
                <a:cubicBezTo>
                  <a:pt x="44" y="5"/>
                  <a:pt x="44" y="6"/>
                  <a:pt x="43" y="6"/>
                </a:cubicBezTo>
                <a:cubicBezTo>
                  <a:pt x="44" y="7"/>
                  <a:pt x="43" y="6"/>
                  <a:pt x="43" y="8"/>
                </a:cubicBezTo>
                <a:cubicBezTo>
                  <a:pt x="43" y="8"/>
                  <a:pt x="44" y="9"/>
                  <a:pt x="45" y="9"/>
                </a:cubicBezTo>
                <a:cubicBezTo>
                  <a:pt x="46" y="11"/>
                  <a:pt x="48" y="10"/>
                  <a:pt x="49" y="12"/>
                </a:cubicBezTo>
                <a:cubicBezTo>
                  <a:pt x="50" y="12"/>
                  <a:pt x="51" y="12"/>
                  <a:pt x="52" y="12"/>
                </a:cubicBezTo>
                <a:cubicBezTo>
                  <a:pt x="53" y="12"/>
                  <a:pt x="52" y="10"/>
                  <a:pt x="54" y="11"/>
                </a:cubicBezTo>
                <a:cubicBezTo>
                  <a:pt x="53" y="11"/>
                  <a:pt x="53" y="9"/>
                  <a:pt x="54" y="9"/>
                </a:cubicBezTo>
                <a:cubicBezTo>
                  <a:pt x="54" y="9"/>
                  <a:pt x="54" y="9"/>
                  <a:pt x="54" y="8"/>
                </a:cubicBezTo>
                <a:cubicBezTo>
                  <a:pt x="54" y="8"/>
                  <a:pt x="54" y="8"/>
                  <a:pt x="54" y="8"/>
                </a:cubicBezTo>
                <a:cubicBezTo>
                  <a:pt x="54" y="7"/>
                  <a:pt x="55" y="7"/>
                  <a:pt x="55" y="6"/>
                </a:cubicBezTo>
                <a:cubicBezTo>
                  <a:pt x="55" y="5"/>
                  <a:pt x="54" y="5"/>
                  <a:pt x="55" y="3"/>
                </a:cubicBezTo>
                <a:cubicBezTo>
                  <a:pt x="55" y="3"/>
                  <a:pt x="56" y="4"/>
                  <a:pt x="56" y="3"/>
                </a:cubicBezTo>
                <a:cubicBezTo>
                  <a:pt x="56" y="3"/>
                  <a:pt x="56" y="1"/>
                  <a:pt x="56" y="1"/>
                </a:cubicBezTo>
                <a:cubicBezTo>
                  <a:pt x="57" y="1"/>
                  <a:pt x="56" y="2"/>
                  <a:pt x="57" y="3"/>
                </a:cubicBezTo>
                <a:cubicBezTo>
                  <a:pt x="57" y="3"/>
                  <a:pt x="57" y="3"/>
                  <a:pt x="57" y="3"/>
                </a:cubicBezTo>
                <a:cubicBezTo>
                  <a:pt x="58" y="4"/>
                  <a:pt x="58" y="5"/>
                  <a:pt x="58" y="5"/>
                </a:cubicBezTo>
                <a:cubicBezTo>
                  <a:pt x="59" y="6"/>
                  <a:pt x="60" y="7"/>
                  <a:pt x="60" y="8"/>
                </a:cubicBezTo>
                <a:cubicBezTo>
                  <a:pt x="61" y="6"/>
                  <a:pt x="60" y="8"/>
                  <a:pt x="62" y="8"/>
                </a:cubicBezTo>
                <a:cubicBezTo>
                  <a:pt x="62" y="9"/>
                  <a:pt x="61" y="10"/>
                  <a:pt x="62" y="11"/>
                </a:cubicBezTo>
                <a:cubicBezTo>
                  <a:pt x="63" y="12"/>
                  <a:pt x="62" y="13"/>
                  <a:pt x="63" y="14"/>
                </a:cubicBezTo>
                <a:cubicBezTo>
                  <a:pt x="64" y="13"/>
                  <a:pt x="63" y="14"/>
                  <a:pt x="64" y="14"/>
                </a:cubicBezTo>
                <a:cubicBezTo>
                  <a:pt x="65" y="15"/>
                  <a:pt x="64" y="15"/>
                  <a:pt x="64" y="16"/>
                </a:cubicBezTo>
                <a:cubicBezTo>
                  <a:pt x="65" y="16"/>
                  <a:pt x="66" y="16"/>
                  <a:pt x="66" y="18"/>
                </a:cubicBezTo>
                <a:cubicBezTo>
                  <a:pt x="66" y="18"/>
                  <a:pt x="67" y="18"/>
                  <a:pt x="67" y="18"/>
                </a:cubicBezTo>
                <a:cubicBezTo>
                  <a:pt x="67" y="18"/>
                  <a:pt x="67" y="19"/>
                  <a:pt x="67" y="19"/>
                </a:cubicBezTo>
                <a:cubicBezTo>
                  <a:pt x="67" y="19"/>
                  <a:pt x="68" y="19"/>
                  <a:pt x="68" y="19"/>
                </a:cubicBezTo>
                <a:cubicBezTo>
                  <a:pt x="69" y="20"/>
                  <a:pt x="69" y="21"/>
                  <a:pt x="70" y="21"/>
                </a:cubicBezTo>
                <a:cubicBezTo>
                  <a:pt x="70" y="22"/>
                  <a:pt x="71" y="23"/>
                  <a:pt x="71" y="24"/>
                </a:cubicBezTo>
                <a:cubicBezTo>
                  <a:pt x="72" y="24"/>
                  <a:pt x="72" y="25"/>
                  <a:pt x="72" y="25"/>
                </a:cubicBezTo>
                <a:cubicBezTo>
                  <a:pt x="73" y="26"/>
                  <a:pt x="73" y="25"/>
                  <a:pt x="73" y="25"/>
                </a:cubicBezTo>
                <a:cubicBezTo>
                  <a:pt x="74" y="25"/>
                  <a:pt x="73" y="26"/>
                  <a:pt x="73" y="26"/>
                </a:cubicBezTo>
                <a:cubicBezTo>
                  <a:pt x="74" y="27"/>
                  <a:pt x="75" y="27"/>
                  <a:pt x="74" y="26"/>
                </a:cubicBezTo>
                <a:cubicBezTo>
                  <a:pt x="75" y="27"/>
                  <a:pt x="75" y="28"/>
                  <a:pt x="76" y="28"/>
                </a:cubicBezTo>
                <a:cubicBezTo>
                  <a:pt x="75" y="29"/>
                  <a:pt x="76" y="31"/>
                  <a:pt x="77" y="33"/>
                </a:cubicBezTo>
                <a:cubicBezTo>
                  <a:pt x="77" y="34"/>
                  <a:pt x="76" y="35"/>
                  <a:pt x="77" y="36"/>
                </a:cubicBezTo>
                <a:cubicBezTo>
                  <a:pt x="76" y="37"/>
                  <a:pt x="76" y="37"/>
                  <a:pt x="76" y="39"/>
                </a:cubicBezTo>
                <a:cubicBezTo>
                  <a:pt x="76" y="39"/>
                  <a:pt x="75" y="40"/>
                  <a:pt x="76" y="40"/>
                </a:cubicBezTo>
                <a:cubicBezTo>
                  <a:pt x="76" y="40"/>
                  <a:pt x="76" y="40"/>
                  <a:pt x="76" y="40"/>
                </a:cubicBezTo>
                <a:cubicBezTo>
                  <a:pt x="76" y="40"/>
                  <a:pt x="76" y="41"/>
                  <a:pt x="76" y="41"/>
                </a:cubicBezTo>
                <a:cubicBezTo>
                  <a:pt x="76" y="41"/>
                  <a:pt x="75" y="42"/>
                  <a:pt x="75" y="42"/>
                </a:cubicBezTo>
                <a:cubicBezTo>
                  <a:pt x="75" y="42"/>
                  <a:pt x="76" y="43"/>
                  <a:pt x="75" y="44"/>
                </a:cubicBezTo>
                <a:cubicBezTo>
                  <a:pt x="74" y="44"/>
                  <a:pt x="74" y="45"/>
                  <a:pt x="73" y="45"/>
                </a:cubicBezTo>
                <a:cubicBezTo>
                  <a:pt x="73" y="46"/>
                  <a:pt x="73" y="46"/>
                  <a:pt x="72" y="46"/>
                </a:cubicBezTo>
                <a:cubicBezTo>
                  <a:pt x="72" y="48"/>
                  <a:pt x="71" y="49"/>
                  <a:pt x="71" y="51"/>
                </a:cubicBezTo>
                <a:cubicBezTo>
                  <a:pt x="70" y="50"/>
                  <a:pt x="70" y="52"/>
                  <a:pt x="70" y="53"/>
                </a:cubicBezTo>
                <a:cubicBezTo>
                  <a:pt x="69" y="53"/>
                  <a:pt x="68" y="53"/>
                  <a:pt x="68" y="54"/>
                </a:cubicBezTo>
                <a:cubicBezTo>
                  <a:pt x="68" y="55"/>
                  <a:pt x="66" y="55"/>
                  <a:pt x="65" y="55"/>
                </a:cubicBezTo>
                <a:cubicBezTo>
                  <a:pt x="65" y="55"/>
                  <a:pt x="65" y="56"/>
                  <a:pt x="64" y="56"/>
                </a:cubicBezTo>
                <a:cubicBezTo>
                  <a:pt x="64" y="56"/>
                  <a:pt x="64" y="56"/>
                  <a:pt x="64" y="57"/>
                </a:cubicBezTo>
                <a:cubicBezTo>
                  <a:pt x="63" y="56"/>
                  <a:pt x="62" y="55"/>
                  <a:pt x="61" y="55"/>
                </a:cubicBezTo>
                <a:cubicBezTo>
                  <a:pt x="60" y="54"/>
                  <a:pt x="60" y="56"/>
                  <a:pt x="60" y="56"/>
                </a:cubicBezTo>
                <a:cubicBezTo>
                  <a:pt x="59" y="56"/>
                  <a:pt x="57" y="56"/>
                  <a:pt x="57" y="57"/>
                </a:cubicBezTo>
                <a:cubicBezTo>
                  <a:pt x="55" y="56"/>
                  <a:pt x="54" y="55"/>
                  <a:pt x="51" y="54"/>
                </a:cubicBezTo>
                <a:cubicBezTo>
                  <a:pt x="52" y="54"/>
                  <a:pt x="52" y="53"/>
                  <a:pt x="51" y="52"/>
                </a:cubicBezTo>
                <a:cubicBezTo>
                  <a:pt x="51" y="52"/>
                  <a:pt x="51" y="52"/>
                  <a:pt x="51" y="51"/>
                </a:cubicBezTo>
                <a:cubicBezTo>
                  <a:pt x="51" y="51"/>
                  <a:pt x="51" y="51"/>
                  <a:pt x="51" y="51"/>
                </a:cubicBezTo>
                <a:cubicBezTo>
                  <a:pt x="51" y="51"/>
                  <a:pt x="50" y="50"/>
                  <a:pt x="50" y="50"/>
                </a:cubicBezTo>
                <a:cubicBezTo>
                  <a:pt x="50" y="50"/>
                  <a:pt x="48" y="49"/>
                  <a:pt x="48" y="50"/>
                </a:cubicBezTo>
                <a:cubicBezTo>
                  <a:pt x="47" y="49"/>
                  <a:pt x="47" y="48"/>
                  <a:pt x="47" y="47"/>
                </a:cubicBezTo>
                <a:cubicBezTo>
                  <a:pt x="47" y="46"/>
                  <a:pt x="47" y="46"/>
                  <a:pt x="47" y="45"/>
                </a:cubicBezTo>
                <a:cubicBezTo>
                  <a:pt x="47" y="45"/>
                  <a:pt x="46" y="45"/>
                  <a:pt x="45" y="45"/>
                </a:cubicBezTo>
                <a:cubicBezTo>
                  <a:pt x="44" y="46"/>
                  <a:pt x="44" y="47"/>
                  <a:pt x="42" y="47"/>
                </a:cubicBezTo>
                <a:cubicBezTo>
                  <a:pt x="43" y="45"/>
                  <a:pt x="41" y="45"/>
                  <a:pt x="41" y="44"/>
                </a:cubicBezTo>
                <a:cubicBezTo>
                  <a:pt x="40" y="44"/>
                  <a:pt x="40" y="43"/>
                  <a:pt x="38" y="43"/>
                </a:cubicBezTo>
                <a:cubicBezTo>
                  <a:pt x="38" y="43"/>
                  <a:pt x="39" y="43"/>
                  <a:pt x="39" y="43"/>
                </a:cubicBezTo>
                <a:cubicBezTo>
                  <a:pt x="38" y="41"/>
                  <a:pt x="37" y="42"/>
                  <a:pt x="35" y="42"/>
                </a:cubicBezTo>
                <a:cubicBezTo>
                  <a:pt x="33" y="42"/>
                  <a:pt x="32" y="41"/>
                  <a:pt x="30" y="41"/>
                </a:cubicBezTo>
                <a:cubicBezTo>
                  <a:pt x="29" y="41"/>
                  <a:pt x="28" y="41"/>
                  <a:pt x="28" y="42"/>
                </a:cubicBezTo>
                <a:cubicBezTo>
                  <a:pt x="27" y="42"/>
                  <a:pt x="26" y="42"/>
                  <a:pt x="26" y="42"/>
                </a:cubicBezTo>
                <a:cubicBezTo>
                  <a:pt x="25" y="42"/>
                  <a:pt x="25" y="43"/>
                  <a:pt x="25" y="43"/>
                </a:cubicBezTo>
                <a:cubicBezTo>
                  <a:pt x="24" y="43"/>
                  <a:pt x="25" y="42"/>
                  <a:pt x="24" y="43"/>
                </a:cubicBezTo>
                <a:cubicBezTo>
                  <a:pt x="24" y="43"/>
                  <a:pt x="23" y="43"/>
                  <a:pt x="23" y="44"/>
                </a:cubicBezTo>
                <a:cubicBezTo>
                  <a:pt x="23" y="43"/>
                  <a:pt x="22" y="43"/>
                  <a:pt x="22" y="44"/>
                </a:cubicBezTo>
                <a:cubicBezTo>
                  <a:pt x="22" y="44"/>
                  <a:pt x="22" y="44"/>
                  <a:pt x="22" y="44"/>
                </a:cubicBezTo>
                <a:cubicBezTo>
                  <a:pt x="21" y="44"/>
                  <a:pt x="21" y="45"/>
                  <a:pt x="22" y="44"/>
                </a:cubicBezTo>
                <a:cubicBezTo>
                  <a:pt x="21" y="46"/>
                  <a:pt x="20" y="45"/>
                  <a:pt x="19" y="46"/>
                </a:cubicBezTo>
                <a:cubicBezTo>
                  <a:pt x="18" y="45"/>
                  <a:pt x="15" y="46"/>
                  <a:pt x="13" y="46"/>
                </a:cubicBezTo>
                <a:cubicBezTo>
                  <a:pt x="13" y="46"/>
                  <a:pt x="13" y="47"/>
                  <a:pt x="13" y="47"/>
                </a:cubicBezTo>
                <a:cubicBezTo>
                  <a:pt x="12" y="47"/>
                  <a:pt x="12" y="47"/>
                  <a:pt x="12" y="47"/>
                </a:cubicBezTo>
                <a:cubicBezTo>
                  <a:pt x="11" y="47"/>
                  <a:pt x="11" y="47"/>
                  <a:pt x="10" y="47"/>
                </a:cubicBezTo>
                <a:cubicBezTo>
                  <a:pt x="9" y="48"/>
                  <a:pt x="7" y="49"/>
                  <a:pt x="4" y="48"/>
                </a:cubicBezTo>
                <a:cubicBezTo>
                  <a:pt x="4" y="47"/>
                  <a:pt x="4" y="45"/>
                  <a:pt x="5" y="45"/>
                </a:cubicBezTo>
                <a:cubicBezTo>
                  <a:pt x="5" y="45"/>
                  <a:pt x="6" y="43"/>
                  <a:pt x="5" y="43"/>
                </a:cubicBezTo>
                <a:cubicBezTo>
                  <a:pt x="4" y="43"/>
                  <a:pt x="5" y="43"/>
                  <a:pt x="5" y="41"/>
                </a:cubicBezTo>
                <a:cubicBezTo>
                  <a:pt x="4" y="40"/>
                  <a:pt x="4" y="42"/>
                  <a:pt x="4" y="40"/>
                </a:cubicBezTo>
                <a:cubicBezTo>
                  <a:pt x="4" y="40"/>
                  <a:pt x="4" y="39"/>
                  <a:pt x="4" y="39"/>
                </a:cubicBezTo>
                <a:cubicBezTo>
                  <a:pt x="3" y="39"/>
                  <a:pt x="4" y="39"/>
                  <a:pt x="4" y="38"/>
                </a:cubicBezTo>
                <a:cubicBezTo>
                  <a:pt x="4" y="37"/>
                  <a:pt x="3" y="37"/>
                  <a:pt x="3" y="36"/>
                </a:cubicBezTo>
                <a:cubicBezTo>
                  <a:pt x="3" y="36"/>
                  <a:pt x="3" y="36"/>
                  <a:pt x="2" y="36"/>
                </a:cubicBezTo>
                <a:cubicBezTo>
                  <a:pt x="2" y="35"/>
                  <a:pt x="2" y="35"/>
                  <a:pt x="2" y="35"/>
                </a:cubicBezTo>
                <a:cubicBezTo>
                  <a:pt x="2" y="35"/>
                  <a:pt x="2" y="33"/>
                  <a:pt x="2" y="33"/>
                </a:cubicBezTo>
                <a:cubicBezTo>
                  <a:pt x="1" y="33"/>
                  <a:pt x="2" y="33"/>
                  <a:pt x="2" y="32"/>
                </a:cubicBezTo>
                <a:cubicBezTo>
                  <a:pt x="2" y="32"/>
                  <a:pt x="1" y="31"/>
                  <a:pt x="1" y="30"/>
                </a:cubicBezTo>
                <a:cubicBezTo>
                  <a:pt x="2" y="31"/>
                  <a:pt x="1" y="29"/>
                  <a:pt x="2" y="29"/>
                </a:cubicBezTo>
                <a:cubicBezTo>
                  <a:pt x="3" y="28"/>
                  <a:pt x="2" y="28"/>
                  <a:pt x="1" y="28"/>
                </a:cubicBezTo>
                <a:cubicBezTo>
                  <a:pt x="1" y="28"/>
                  <a:pt x="2" y="26"/>
                  <a:pt x="1" y="27"/>
                </a:cubicBezTo>
                <a:cubicBezTo>
                  <a:pt x="0" y="25"/>
                  <a:pt x="1" y="24"/>
                  <a:pt x="1" y="22"/>
                </a:cubicBezTo>
                <a:cubicBezTo>
                  <a:pt x="2" y="23"/>
                  <a:pt x="4" y="22"/>
                  <a:pt x="4" y="21"/>
                </a:cubicBezTo>
                <a:cubicBezTo>
                  <a:pt x="4" y="20"/>
                  <a:pt x="7" y="21"/>
                  <a:pt x="7" y="19"/>
                </a:cubicBezTo>
                <a:cubicBezTo>
                  <a:pt x="9" y="19"/>
                  <a:pt x="10" y="18"/>
                  <a:pt x="13" y="18"/>
                </a:cubicBezTo>
                <a:cubicBezTo>
                  <a:pt x="13" y="18"/>
                  <a:pt x="13" y="17"/>
                  <a:pt x="13" y="17"/>
                </a:cubicBezTo>
                <a:cubicBezTo>
                  <a:pt x="14" y="16"/>
                  <a:pt x="15" y="17"/>
                  <a:pt x="15" y="16"/>
                </a:cubicBezTo>
                <a:cubicBezTo>
                  <a:pt x="15" y="16"/>
                  <a:pt x="15" y="16"/>
                  <a:pt x="16" y="16"/>
                </a:cubicBezTo>
                <a:cubicBezTo>
                  <a:pt x="17" y="16"/>
                  <a:pt x="16" y="14"/>
                  <a:pt x="17" y="15"/>
                </a:cubicBezTo>
                <a:cubicBezTo>
                  <a:pt x="17" y="13"/>
                  <a:pt x="17" y="13"/>
                  <a:pt x="17" y="11"/>
                </a:cubicBezTo>
                <a:cubicBezTo>
                  <a:pt x="18" y="11"/>
                  <a:pt x="19" y="11"/>
                  <a:pt x="20" y="12"/>
                </a:cubicBezTo>
                <a:cubicBezTo>
                  <a:pt x="21" y="12"/>
                  <a:pt x="21" y="11"/>
                  <a:pt x="22" y="11"/>
                </a:cubicBezTo>
                <a:cubicBezTo>
                  <a:pt x="21" y="10"/>
                  <a:pt x="23" y="9"/>
                  <a:pt x="22" y="9"/>
                </a:cubicBezTo>
                <a:cubicBezTo>
                  <a:pt x="22" y="9"/>
                  <a:pt x="23" y="9"/>
                  <a:pt x="22" y="8"/>
                </a:cubicBezTo>
                <a:cubicBezTo>
                  <a:pt x="24" y="8"/>
                  <a:pt x="23" y="6"/>
                  <a:pt x="25" y="7"/>
                </a:cubicBezTo>
                <a:cubicBezTo>
                  <a:pt x="25" y="6"/>
                  <a:pt x="26" y="6"/>
                  <a:pt x="26" y="5"/>
                </a:cubicBezTo>
                <a:cubicBezTo>
                  <a:pt x="27" y="6"/>
                  <a:pt x="27" y="6"/>
                  <a:pt x="29" y="6"/>
                </a:cubicBezTo>
                <a:cubicBezTo>
                  <a:pt x="28" y="7"/>
                  <a:pt x="29" y="6"/>
                  <a:pt x="29" y="7"/>
                </a:cubicBezTo>
                <a:cubicBezTo>
                  <a:pt x="29" y="7"/>
                  <a:pt x="29" y="7"/>
                  <a:pt x="29" y="7"/>
                </a:cubicBezTo>
                <a:cubicBezTo>
                  <a:pt x="29" y="7"/>
                  <a:pt x="30" y="7"/>
                  <a:pt x="30" y="7"/>
                </a:cubicBezTo>
                <a:cubicBezTo>
                  <a:pt x="30" y="7"/>
                  <a:pt x="30" y="9"/>
                  <a:pt x="32" y="8"/>
                </a:cubicBezTo>
                <a:cubicBezTo>
                  <a:pt x="32" y="8"/>
                  <a:pt x="32" y="6"/>
                  <a:pt x="31" y="6"/>
                </a:cubicBezTo>
                <a:cubicBezTo>
                  <a:pt x="31" y="6"/>
                  <a:pt x="32" y="6"/>
                  <a:pt x="32" y="5"/>
                </a:cubicBezTo>
                <a:cubicBezTo>
                  <a:pt x="32" y="4"/>
                  <a:pt x="33" y="3"/>
                  <a:pt x="34" y="3"/>
                </a:cubicBezTo>
                <a:cubicBezTo>
                  <a:pt x="34" y="2"/>
                  <a:pt x="35" y="2"/>
                  <a:pt x="36" y="2"/>
                </a:cubicBezTo>
                <a:cubicBezTo>
                  <a:pt x="35" y="3"/>
                  <a:pt x="35" y="3"/>
                  <a:pt x="36" y="2"/>
                </a:cubicBezTo>
                <a:cubicBezTo>
                  <a:pt x="38" y="0"/>
                  <a:pt x="42" y="2"/>
                  <a:pt x="45" y="2"/>
                </a:cubicBez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249" name="椭圆 248"/>
          <p:cNvSpPr/>
          <p:nvPr/>
        </p:nvSpPr>
        <p:spPr>
          <a:xfrm>
            <a:off x="6802108" y="3879889"/>
            <a:ext cx="144016" cy="144016"/>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50" name="椭圆 249"/>
          <p:cNvSpPr/>
          <p:nvPr/>
        </p:nvSpPr>
        <p:spPr>
          <a:xfrm>
            <a:off x="4547595" y="2461072"/>
            <a:ext cx="144016" cy="144016"/>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51" name="椭圆 250"/>
          <p:cNvSpPr/>
          <p:nvPr/>
        </p:nvSpPr>
        <p:spPr>
          <a:xfrm>
            <a:off x="5217211" y="2215132"/>
            <a:ext cx="121221" cy="121221"/>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52" name="椭圆 251"/>
          <p:cNvSpPr/>
          <p:nvPr/>
        </p:nvSpPr>
        <p:spPr>
          <a:xfrm>
            <a:off x="5538879" y="2409825"/>
            <a:ext cx="121221" cy="121221"/>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53" name="椭圆 252"/>
          <p:cNvSpPr/>
          <p:nvPr/>
        </p:nvSpPr>
        <p:spPr>
          <a:xfrm>
            <a:off x="1878984" y="2774135"/>
            <a:ext cx="121221" cy="121221"/>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54" name="椭圆 253"/>
          <p:cNvSpPr/>
          <p:nvPr/>
        </p:nvSpPr>
        <p:spPr>
          <a:xfrm>
            <a:off x="3093421" y="4059237"/>
            <a:ext cx="121221" cy="121221"/>
          </a:xfrm>
          <a:prstGeom prst="ellipse">
            <a:avLst/>
          </a:prstGeom>
          <a:solidFill>
            <a:schemeClr val="accent6">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55" name="矩形 254"/>
          <p:cNvSpPr/>
          <p:nvPr/>
        </p:nvSpPr>
        <p:spPr>
          <a:xfrm>
            <a:off x="6214259" y="3793604"/>
            <a:ext cx="2520280" cy="627864"/>
          </a:xfrm>
          <a:prstGeom prst="rect">
            <a:avLst/>
          </a:prstGeom>
        </p:spPr>
        <p:txBody>
          <a:bodyPr wrap="square">
            <a:spAutoFit/>
          </a:bodyPr>
          <a:lstStyle/>
          <a:p>
            <a:pPr algn="ctr">
              <a:lnSpc>
                <a:spcPct val="120000"/>
              </a:lnSpc>
            </a:pPr>
            <a:r>
              <a:rPr lang="zh-CN" altLang="en-US" sz="900" dirty="0">
                <a:latin typeface="方正兰亭超细黑简体" panose="02000000000000000000" pitchFamily="2" charset="-122"/>
                <a:ea typeface="方正兰亭超细黑简体" panose="02000000000000000000" pitchFamily="2" charset="-122"/>
              </a:rPr>
              <a:t>输入你的文本</a:t>
            </a:r>
            <a:endParaRPr lang="en-US" altLang="zh-CN" sz="9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endParaRPr lang="zh-CN" altLang="en-US" sz="500" dirty="0">
              <a:latin typeface="方正兰亭超细黑简体" panose="02000000000000000000" pitchFamily="2" charset="-122"/>
              <a:ea typeface="方正兰亭超细黑简体" panose="02000000000000000000" pitchFamily="2" charset="-122"/>
            </a:endParaRPr>
          </a:p>
        </p:txBody>
      </p:sp>
      <p:sp>
        <p:nvSpPr>
          <p:cNvPr id="259" name="矩形 258"/>
          <p:cNvSpPr/>
          <p:nvPr/>
        </p:nvSpPr>
        <p:spPr>
          <a:xfrm>
            <a:off x="179512" y="2752339"/>
            <a:ext cx="2520280" cy="627864"/>
          </a:xfrm>
          <a:prstGeom prst="rect">
            <a:avLst/>
          </a:prstGeom>
        </p:spPr>
        <p:txBody>
          <a:bodyPr wrap="square">
            <a:spAutoFit/>
          </a:bodyPr>
          <a:lstStyle/>
          <a:p>
            <a:pPr algn="ctr">
              <a:lnSpc>
                <a:spcPct val="120000"/>
              </a:lnSpc>
            </a:pPr>
            <a:r>
              <a:rPr lang="zh-CN" altLang="en-US" sz="900" dirty="0">
                <a:latin typeface="方正兰亭超细黑简体" panose="02000000000000000000" pitchFamily="2" charset="-122"/>
                <a:ea typeface="方正兰亭超细黑简体" panose="02000000000000000000" pitchFamily="2" charset="-122"/>
              </a:rPr>
              <a:t>输入你的文本</a:t>
            </a:r>
            <a:endParaRPr lang="en-US" altLang="zh-CN" sz="9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endParaRPr lang="zh-CN" altLang="en-US" sz="500" dirty="0">
              <a:latin typeface="方正兰亭超细黑简体" panose="02000000000000000000" pitchFamily="2" charset="-122"/>
              <a:ea typeface="方正兰亭超细黑简体" panose="02000000000000000000" pitchFamily="2" charset="-122"/>
            </a:endParaRPr>
          </a:p>
        </p:txBody>
      </p:sp>
      <p:sp>
        <p:nvSpPr>
          <p:cNvPr id="260" name="矩形 259"/>
          <p:cNvSpPr/>
          <p:nvPr/>
        </p:nvSpPr>
        <p:spPr>
          <a:xfrm>
            <a:off x="2394924" y="3988230"/>
            <a:ext cx="2520280" cy="627864"/>
          </a:xfrm>
          <a:prstGeom prst="rect">
            <a:avLst/>
          </a:prstGeom>
        </p:spPr>
        <p:txBody>
          <a:bodyPr wrap="square">
            <a:spAutoFit/>
          </a:bodyPr>
          <a:lstStyle/>
          <a:p>
            <a:pPr algn="ctr">
              <a:lnSpc>
                <a:spcPct val="120000"/>
              </a:lnSpc>
            </a:pPr>
            <a:r>
              <a:rPr lang="zh-CN" altLang="en-US" sz="900" dirty="0">
                <a:latin typeface="方正兰亭超细黑简体" panose="02000000000000000000" pitchFamily="2" charset="-122"/>
                <a:ea typeface="方正兰亭超细黑简体" panose="02000000000000000000" pitchFamily="2" charset="-122"/>
              </a:rPr>
              <a:t>输入你的文本</a:t>
            </a:r>
            <a:endParaRPr lang="en-US" altLang="zh-CN" sz="9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endParaRPr lang="zh-CN" altLang="en-US" sz="500" dirty="0">
              <a:latin typeface="方正兰亭超细黑简体" panose="02000000000000000000" pitchFamily="2" charset="-122"/>
              <a:ea typeface="方正兰亭超细黑简体" panose="02000000000000000000" pitchFamily="2" charset="-122"/>
            </a:endParaRPr>
          </a:p>
        </p:txBody>
      </p:sp>
      <p:sp>
        <p:nvSpPr>
          <p:cNvPr id="261" name="矩形 260"/>
          <p:cNvSpPr/>
          <p:nvPr/>
        </p:nvSpPr>
        <p:spPr>
          <a:xfrm>
            <a:off x="2344407" y="2371353"/>
            <a:ext cx="2520280" cy="627864"/>
          </a:xfrm>
          <a:prstGeom prst="rect">
            <a:avLst/>
          </a:prstGeom>
        </p:spPr>
        <p:txBody>
          <a:bodyPr wrap="square">
            <a:spAutoFit/>
          </a:bodyPr>
          <a:lstStyle/>
          <a:p>
            <a:pPr algn="ctr">
              <a:lnSpc>
                <a:spcPct val="120000"/>
              </a:lnSpc>
            </a:pPr>
            <a:r>
              <a:rPr lang="zh-CN" altLang="en-US" sz="900" dirty="0">
                <a:latin typeface="方正兰亭超细黑简体" panose="02000000000000000000" pitchFamily="2" charset="-122"/>
                <a:ea typeface="方正兰亭超细黑简体" panose="02000000000000000000" pitchFamily="2" charset="-122"/>
              </a:rPr>
              <a:t>输入你的文本</a:t>
            </a:r>
            <a:endParaRPr lang="en-US" altLang="zh-CN" sz="9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endParaRPr lang="zh-CN" altLang="en-US" sz="500" dirty="0">
              <a:latin typeface="方正兰亭超细黑简体" panose="02000000000000000000" pitchFamily="2" charset="-122"/>
              <a:ea typeface="方正兰亭超细黑简体" panose="02000000000000000000" pitchFamily="2" charset="-122"/>
            </a:endParaRPr>
          </a:p>
        </p:txBody>
      </p:sp>
      <p:sp>
        <p:nvSpPr>
          <p:cNvPr id="262" name="矩形 261"/>
          <p:cNvSpPr/>
          <p:nvPr/>
        </p:nvSpPr>
        <p:spPr>
          <a:xfrm>
            <a:off x="6603670" y="2234361"/>
            <a:ext cx="2520280" cy="627864"/>
          </a:xfrm>
          <a:prstGeom prst="rect">
            <a:avLst/>
          </a:prstGeom>
        </p:spPr>
        <p:txBody>
          <a:bodyPr wrap="square">
            <a:spAutoFit/>
          </a:bodyPr>
          <a:lstStyle/>
          <a:p>
            <a:pPr algn="ctr">
              <a:lnSpc>
                <a:spcPct val="120000"/>
              </a:lnSpc>
            </a:pPr>
            <a:r>
              <a:rPr lang="zh-CN" altLang="en-US" sz="900" dirty="0">
                <a:latin typeface="方正兰亭超细黑简体" panose="02000000000000000000" pitchFamily="2" charset="-122"/>
                <a:ea typeface="方正兰亭超细黑简体" panose="02000000000000000000" pitchFamily="2" charset="-122"/>
              </a:rPr>
              <a:t>输入你的文本</a:t>
            </a:r>
            <a:endParaRPr lang="en-US" altLang="zh-CN" sz="9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r>
              <a:rPr lang="zh-CN" altLang="en-US" sz="700" dirty="0">
                <a:latin typeface="方正兰亭超细黑简体" panose="02000000000000000000" pitchFamily="2" charset="-122"/>
                <a:ea typeface="方正兰亭超细黑简体" panose="02000000000000000000" pitchFamily="2" charset="-122"/>
              </a:rPr>
              <a:t>输入你的文本</a:t>
            </a:r>
            <a:endParaRPr lang="en-US" altLang="zh-CN" sz="700" dirty="0">
              <a:latin typeface="方正兰亭超细黑简体" panose="02000000000000000000" pitchFamily="2" charset="-122"/>
              <a:ea typeface="方正兰亭超细黑简体" panose="02000000000000000000" pitchFamily="2" charset="-122"/>
            </a:endParaRPr>
          </a:p>
          <a:p>
            <a:pPr algn="ctr">
              <a:lnSpc>
                <a:spcPct val="120000"/>
              </a:lnSpc>
            </a:pPr>
            <a:endParaRPr lang="zh-CN" altLang="en-US" sz="500" dirty="0">
              <a:latin typeface="方正兰亭超细黑简体" panose="02000000000000000000" pitchFamily="2" charset="-122"/>
              <a:ea typeface="方正兰亭超细黑简体" panose="02000000000000000000"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0"/>
                                        </p:tgtEl>
                                        <p:attrNameLst>
                                          <p:attrName>style.visibility</p:attrName>
                                        </p:attrNameLst>
                                      </p:cBhvr>
                                      <p:to>
                                        <p:strVal val="visible"/>
                                      </p:to>
                                    </p:set>
                                    <p:animEffect transition="in" filter="fade">
                                      <p:cBhvr>
                                        <p:cTn id="7" dur="250"/>
                                        <p:tgtEl>
                                          <p:spTgt spid="25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51"/>
                                        </p:tgtEl>
                                        <p:attrNameLst>
                                          <p:attrName>style.visibility</p:attrName>
                                        </p:attrNameLst>
                                      </p:cBhvr>
                                      <p:to>
                                        <p:strVal val="visible"/>
                                      </p:to>
                                    </p:set>
                                    <p:animEffect transition="in" filter="fade">
                                      <p:cBhvr>
                                        <p:cTn id="11" dur="250"/>
                                        <p:tgtEl>
                                          <p:spTgt spid="25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52"/>
                                        </p:tgtEl>
                                        <p:attrNameLst>
                                          <p:attrName>style.visibility</p:attrName>
                                        </p:attrNameLst>
                                      </p:cBhvr>
                                      <p:to>
                                        <p:strVal val="visible"/>
                                      </p:to>
                                    </p:set>
                                    <p:animEffect transition="in" filter="fade">
                                      <p:cBhvr>
                                        <p:cTn id="15" dur="250"/>
                                        <p:tgtEl>
                                          <p:spTgt spid="252"/>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49"/>
                                        </p:tgtEl>
                                        <p:attrNameLst>
                                          <p:attrName>style.visibility</p:attrName>
                                        </p:attrNameLst>
                                      </p:cBhvr>
                                      <p:to>
                                        <p:strVal val="visible"/>
                                      </p:to>
                                    </p:set>
                                    <p:animEffect transition="in" filter="fade">
                                      <p:cBhvr>
                                        <p:cTn id="19" dur="250"/>
                                        <p:tgtEl>
                                          <p:spTgt spid="24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54"/>
                                        </p:tgtEl>
                                        <p:attrNameLst>
                                          <p:attrName>style.visibility</p:attrName>
                                        </p:attrNameLst>
                                      </p:cBhvr>
                                      <p:to>
                                        <p:strVal val="visible"/>
                                      </p:to>
                                    </p:set>
                                    <p:animEffect transition="in" filter="fade">
                                      <p:cBhvr>
                                        <p:cTn id="23" dur="250"/>
                                        <p:tgtEl>
                                          <p:spTgt spid="254"/>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53"/>
                                        </p:tgtEl>
                                        <p:attrNameLst>
                                          <p:attrName>style.visibility</p:attrName>
                                        </p:attrNameLst>
                                      </p:cBhvr>
                                      <p:to>
                                        <p:strVal val="visible"/>
                                      </p:to>
                                    </p:set>
                                    <p:animEffect transition="in" filter="fade">
                                      <p:cBhvr>
                                        <p:cTn id="27" dur="250"/>
                                        <p:tgtEl>
                                          <p:spTgt spid="253"/>
                                        </p:tgtEl>
                                      </p:cBhvr>
                                    </p:animEffect>
                                  </p:childTnLst>
                                </p:cTn>
                              </p:par>
                            </p:childTnLst>
                          </p:cTn>
                        </p:par>
                        <p:par>
                          <p:cTn id="28" fill="hold">
                            <p:stCondLst>
                              <p:cond delay="3000"/>
                            </p:stCondLst>
                            <p:childTnLst>
                              <p:par>
                                <p:cTn id="29" presetID="42" presetClass="entr" presetSubtype="0" fill="hold" grpId="0" nodeType="afterEffect">
                                  <p:stCondLst>
                                    <p:cond delay="0"/>
                                  </p:stCondLst>
                                  <p:childTnLst>
                                    <p:set>
                                      <p:cBhvr>
                                        <p:cTn id="30" dur="1" fill="hold">
                                          <p:stCondLst>
                                            <p:cond delay="0"/>
                                          </p:stCondLst>
                                        </p:cTn>
                                        <p:tgtEl>
                                          <p:spTgt spid="262"/>
                                        </p:tgtEl>
                                        <p:attrNameLst>
                                          <p:attrName>style.visibility</p:attrName>
                                        </p:attrNameLst>
                                      </p:cBhvr>
                                      <p:to>
                                        <p:strVal val="visible"/>
                                      </p:to>
                                    </p:set>
                                    <p:animEffect transition="in" filter="fade">
                                      <p:cBhvr>
                                        <p:cTn id="31" dur="500"/>
                                        <p:tgtEl>
                                          <p:spTgt spid="262"/>
                                        </p:tgtEl>
                                      </p:cBhvr>
                                    </p:animEffect>
                                    <p:anim calcmode="lin" valueType="num">
                                      <p:cBhvr>
                                        <p:cTn id="32" dur="500" fill="hold"/>
                                        <p:tgtEl>
                                          <p:spTgt spid="262"/>
                                        </p:tgtEl>
                                        <p:attrNameLst>
                                          <p:attrName>ppt_x</p:attrName>
                                        </p:attrNameLst>
                                      </p:cBhvr>
                                      <p:tavLst>
                                        <p:tav tm="0">
                                          <p:val>
                                            <p:strVal val="#ppt_x"/>
                                          </p:val>
                                        </p:tav>
                                        <p:tav tm="100000">
                                          <p:val>
                                            <p:strVal val="#ppt_x"/>
                                          </p:val>
                                        </p:tav>
                                      </p:tavLst>
                                    </p:anim>
                                    <p:anim calcmode="lin" valueType="num">
                                      <p:cBhvr>
                                        <p:cTn id="33" dur="500" fill="hold"/>
                                        <p:tgtEl>
                                          <p:spTgt spid="262"/>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55"/>
                                        </p:tgtEl>
                                        <p:attrNameLst>
                                          <p:attrName>style.visibility</p:attrName>
                                        </p:attrNameLst>
                                      </p:cBhvr>
                                      <p:to>
                                        <p:strVal val="visible"/>
                                      </p:to>
                                    </p:set>
                                    <p:animEffect transition="in" filter="fade">
                                      <p:cBhvr>
                                        <p:cTn id="36" dur="500"/>
                                        <p:tgtEl>
                                          <p:spTgt spid="255"/>
                                        </p:tgtEl>
                                      </p:cBhvr>
                                    </p:animEffect>
                                    <p:anim calcmode="lin" valueType="num">
                                      <p:cBhvr>
                                        <p:cTn id="37" dur="500" fill="hold"/>
                                        <p:tgtEl>
                                          <p:spTgt spid="255"/>
                                        </p:tgtEl>
                                        <p:attrNameLst>
                                          <p:attrName>ppt_x</p:attrName>
                                        </p:attrNameLst>
                                      </p:cBhvr>
                                      <p:tavLst>
                                        <p:tav tm="0">
                                          <p:val>
                                            <p:strVal val="#ppt_x"/>
                                          </p:val>
                                        </p:tav>
                                        <p:tav tm="100000">
                                          <p:val>
                                            <p:strVal val="#ppt_x"/>
                                          </p:val>
                                        </p:tav>
                                      </p:tavLst>
                                    </p:anim>
                                    <p:anim calcmode="lin" valueType="num">
                                      <p:cBhvr>
                                        <p:cTn id="38" dur="500" fill="hold"/>
                                        <p:tgtEl>
                                          <p:spTgt spid="255"/>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261"/>
                                        </p:tgtEl>
                                        <p:attrNameLst>
                                          <p:attrName>style.visibility</p:attrName>
                                        </p:attrNameLst>
                                      </p:cBhvr>
                                      <p:to>
                                        <p:strVal val="visible"/>
                                      </p:to>
                                    </p:set>
                                    <p:animEffect transition="in" filter="fade">
                                      <p:cBhvr>
                                        <p:cTn id="41" dur="500"/>
                                        <p:tgtEl>
                                          <p:spTgt spid="261"/>
                                        </p:tgtEl>
                                      </p:cBhvr>
                                    </p:animEffect>
                                    <p:anim calcmode="lin" valueType="num">
                                      <p:cBhvr>
                                        <p:cTn id="42" dur="500" fill="hold"/>
                                        <p:tgtEl>
                                          <p:spTgt spid="261"/>
                                        </p:tgtEl>
                                        <p:attrNameLst>
                                          <p:attrName>ppt_x</p:attrName>
                                        </p:attrNameLst>
                                      </p:cBhvr>
                                      <p:tavLst>
                                        <p:tav tm="0">
                                          <p:val>
                                            <p:strVal val="#ppt_x"/>
                                          </p:val>
                                        </p:tav>
                                        <p:tav tm="100000">
                                          <p:val>
                                            <p:strVal val="#ppt_x"/>
                                          </p:val>
                                        </p:tav>
                                      </p:tavLst>
                                    </p:anim>
                                    <p:anim calcmode="lin" valueType="num">
                                      <p:cBhvr>
                                        <p:cTn id="43" dur="500" fill="hold"/>
                                        <p:tgtEl>
                                          <p:spTgt spid="261"/>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260"/>
                                        </p:tgtEl>
                                        <p:attrNameLst>
                                          <p:attrName>style.visibility</p:attrName>
                                        </p:attrNameLst>
                                      </p:cBhvr>
                                      <p:to>
                                        <p:strVal val="visible"/>
                                      </p:to>
                                    </p:set>
                                    <p:animEffect transition="in" filter="fade">
                                      <p:cBhvr>
                                        <p:cTn id="46" dur="500"/>
                                        <p:tgtEl>
                                          <p:spTgt spid="260"/>
                                        </p:tgtEl>
                                      </p:cBhvr>
                                    </p:animEffect>
                                    <p:anim calcmode="lin" valueType="num">
                                      <p:cBhvr>
                                        <p:cTn id="47" dur="500" fill="hold"/>
                                        <p:tgtEl>
                                          <p:spTgt spid="260"/>
                                        </p:tgtEl>
                                        <p:attrNameLst>
                                          <p:attrName>ppt_x</p:attrName>
                                        </p:attrNameLst>
                                      </p:cBhvr>
                                      <p:tavLst>
                                        <p:tav tm="0">
                                          <p:val>
                                            <p:strVal val="#ppt_x"/>
                                          </p:val>
                                        </p:tav>
                                        <p:tav tm="100000">
                                          <p:val>
                                            <p:strVal val="#ppt_x"/>
                                          </p:val>
                                        </p:tav>
                                      </p:tavLst>
                                    </p:anim>
                                    <p:anim calcmode="lin" valueType="num">
                                      <p:cBhvr>
                                        <p:cTn id="48" dur="500" fill="hold"/>
                                        <p:tgtEl>
                                          <p:spTgt spid="260"/>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259"/>
                                        </p:tgtEl>
                                        <p:attrNameLst>
                                          <p:attrName>style.visibility</p:attrName>
                                        </p:attrNameLst>
                                      </p:cBhvr>
                                      <p:to>
                                        <p:strVal val="visible"/>
                                      </p:to>
                                    </p:set>
                                    <p:animEffect transition="in" filter="fade">
                                      <p:cBhvr>
                                        <p:cTn id="51" dur="500"/>
                                        <p:tgtEl>
                                          <p:spTgt spid="259"/>
                                        </p:tgtEl>
                                      </p:cBhvr>
                                    </p:animEffect>
                                    <p:anim calcmode="lin" valueType="num">
                                      <p:cBhvr>
                                        <p:cTn id="52" dur="500" fill="hold"/>
                                        <p:tgtEl>
                                          <p:spTgt spid="259"/>
                                        </p:tgtEl>
                                        <p:attrNameLst>
                                          <p:attrName>ppt_x</p:attrName>
                                        </p:attrNameLst>
                                      </p:cBhvr>
                                      <p:tavLst>
                                        <p:tav tm="0">
                                          <p:val>
                                            <p:strVal val="#ppt_x"/>
                                          </p:val>
                                        </p:tav>
                                        <p:tav tm="100000">
                                          <p:val>
                                            <p:strVal val="#ppt_x"/>
                                          </p:val>
                                        </p:tav>
                                      </p:tavLst>
                                    </p:anim>
                                    <p:anim calcmode="lin" valueType="num">
                                      <p:cBhvr>
                                        <p:cTn id="53" dur="500" fill="hold"/>
                                        <p:tgtEl>
                                          <p:spTgt spid="25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9" grpId="0" animBg="1"/>
      <p:bldP spid="250" grpId="0" animBg="1"/>
      <p:bldP spid="251" grpId="0" animBg="1"/>
      <p:bldP spid="252" grpId="0" animBg="1"/>
      <p:bldP spid="253" grpId="0" animBg="1"/>
      <p:bldP spid="254" grpId="0" animBg="1"/>
      <p:bldP spid="255" grpId="0"/>
      <p:bldP spid="259" grpId="0"/>
      <p:bldP spid="260" grpId="0"/>
      <p:bldP spid="261" grpId="0"/>
      <p:bldP spid="26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9" name="组合 188"/>
          <p:cNvGrpSpPr/>
          <p:nvPr/>
        </p:nvGrpSpPr>
        <p:grpSpPr>
          <a:xfrm>
            <a:off x="4589165" y="1705372"/>
            <a:ext cx="3439219" cy="682551"/>
            <a:chOff x="4373141" y="1712686"/>
            <a:chExt cx="3919537" cy="777875"/>
          </a:xfrm>
          <a:solidFill>
            <a:srgbClr val="0070C0"/>
          </a:solidFill>
        </p:grpSpPr>
        <p:sp>
          <p:nvSpPr>
            <p:cNvPr id="11" name="Freeform 9"/>
            <p:cNvSpPr/>
            <p:nvPr/>
          </p:nvSpPr>
          <p:spPr bwMode="auto">
            <a:xfrm>
              <a:off x="437314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 name="Oval 10"/>
            <p:cNvSpPr>
              <a:spLocks noChangeArrowheads="1"/>
            </p:cNvSpPr>
            <p:nvPr/>
          </p:nvSpPr>
          <p:spPr bwMode="auto">
            <a:xfrm>
              <a:off x="4458866"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 name="Freeform 15"/>
            <p:cNvSpPr/>
            <p:nvPr/>
          </p:nvSpPr>
          <p:spPr bwMode="auto">
            <a:xfrm>
              <a:off x="5454229" y="1842861"/>
              <a:ext cx="300037" cy="647700"/>
            </a:xfrm>
            <a:custGeom>
              <a:avLst/>
              <a:gdLst>
                <a:gd name="T0" fmla="*/ 22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2 w 28"/>
                <a:gd name="T39" fmla="*/ 57 h 60"/>
                <a:gd name="T40" fmla="*/ 22 w 28"/>
                <a:gd name="T41" fmla="*/ 27 h 60"/>
                <a:gd name="T42" fmla="*/ 22 w 28"/>
                <a:gd name="T43" fmla="*/ 27 h 60"/>
                <a:gd name="T44" fmla="*/ 22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2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2"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2" y="59"/>
                    <a:pt x="22" y="57"/>
                  </a:cubicBezTo>
                  <a:cubicBezTo>
                    <a:pt x="22" y="27"/>
                    <a:pt x="22" y="27"/>
                    <a:pt x="22" y="27"/>
                  </a:cubicBezTo>
                  <a:cubicBezTo>
                    <a:pt x="22" y="27"/>
                    <a:pt x="22" y="27"/>
                    <a:pt x="22" y="27"/>
                  </a:cubicBezTo>
                  <a:cubicBezTo>
                    <a:pt x="22" y="10"/>
                    <a:pt x="22" y="10"/>
                    <a:pt x="22"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 name="Oval 16"/>
            <p:cNvSpPr>
              <a:spLocks noChangeArrowheads="1"/>
            </p:cNvSpPr>
            <p:nvPr/>
          </p:nvSpPr>
          <p:spPr bwMode="auto">
            <a:xfrm>
              <a:off x="5539954"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17"/>
            <p:cNvSpPr/>
            <p:nvPr/>
          </p:nvSpPr>
          <p:spPr bwMode="auto">
            <a:xfrm>
              <a:off x="5817766"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 name="Oval 18"/>
            <p:cNvSpPr>
              <a:spLocks noChangeArrowheads="1"/>
            </p:cNvSpPr>
            <p:nvPr/>
          </p:nvSpPr>
          <p:spPr bwMode="auto">
            <a:xfrm>
              <a:off x="5903491"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 name="Freeform 19"/>
            <p:cNvSpPr/>
            <p:nvPr/>
          </p:nvSpPr>
          <p:spPr bwMode="auto">
            <a:xfrm>
              <a:off x="618289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 name="Oval 20"/>
            <p:cNvSpPr>
              <a:spLocks noChangeArrowheads="1"/>
            </p:cNvSpPr>
            <p:nvPr/>
          </p:nvSpPr>
          <p:spPr bwMode="auto">
            <a:xfrm>
              <a:off x="6268616"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 name="Freeform 21"/>
            <p:cNvSpPr/>
            <p:nvPr/>
          </p:nvSpPr>
          <p:spPr bwMode="auto">
            <a:xfrm>
              <a:off x="4725566"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Oval 22"/>
            <p:cNvSpPr>
              <a:spLocks noChangeArrowheads="1"/>
            </p:cNvSpPr>
            <p:nvPr/>
          </p:nvSpPr>
          <p:spPr bwMode="auto">
            <a:xfrm>
              <a:off x="4811291"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23"/>
            <p:cNvSpPr/>
            <p:nvPr/>
          </p:nvSpPr>
          <p:spPr bwMode="auto">
            <a:xfrm>
              <a:off x="509069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5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1"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1"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5"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Oval 24"/>
            <p:cNvSpPr>
              <a:spLocks noChangeArrowheads="1"/>
            </p:cNvSpPr>
            <p:nvPr/>
          </p:nvSpPr>
          <p:spPr bwMode="auto">
            <a:xfrm>
              <a:off x="5176416"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Freeform 25"/>
            <p:cNvSpPr/>
            <p:nvPr/>
          </p:nvSpPr>
          <p:spPr bwMode="auto">
            <a:xfrm>
              <a:off x="7263979"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 name="Oval 26"/>
            <p:cNvSpPr>
              <a:spLocks noChangeArrowheads="1"/>
            </p:cNvSpPr>
            <p:nvPr/>
          </p:nvSpPr>
          <p:spPr bwMode="auto">
            <a:xfrm>
              <a:off x="7349704"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Freeform 27"/>
            <p:cNvSpPr/>
            <p:nvPr/>
          </p:nvSpPr>
          <p:spPr bwMode="auto">
            <a:xfrm>
              <a:off x="7629104"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 name="Oval 28"/>
            <p:cNvSpPr>
              <a:spLocks noChangeArrowheads="1"/>
            </p:cNvSpPr>
            <p:nvPr/>
          </p:nvSpPr>
          <p:spPr bwMode="auto">
            <a:xfrm>
              <a:off x="7714829"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Freeform 29"/>
            <p:cNvSpPr/>
            <p:nvPr/>
          </p:nvSpPr>
          <p:spPr bwMode="auto">
            <a:xfrm>
              <a:off x="6525791" y="1842861"/>
              <a:ext cx="309562" cy="647700"/>
            </a:xfrm>
            <a:custGeom>
              <a:avLst/>
              <a:gdLst>
                <a:gd name="T0" fmla="*/ 22 w 29"/>
                <a:gd name="T1" fmla="*/ 0 h 60"/>
                <a:gd name="T2" fmla="*/ 8 w 29"/>
                <a:gd name="T3" fmla="*/ 0 h 60"/>
                <a:gd name="T4" fmla="*/ 0 w 29"/>
                <a:gd name="T5" fmla="*/ 6 h 60"/>
                <a:gd name="T6" fmla="*/ 0 w 29"/>
                <a:gd name="T7" fmla="*/ 7 h 60"/>
                <a:gd name="T8" fmla="*/ 0 w 29"/>
                <a:gd name="T9" fmla="*/ 7 h 60"/>
                <a:gd name="T10" fmla="*/ 0 w 29"/>
                <a:gd name="T11" fmla="*/ 27 h 60"/>
                <a:gd name="T12" fmla="*/ 3 w 29"/>
                <a:gd name="T13" fmla="*/ 30 h 60"/>
                <a:gd name="T14" fmla="*/ 5 w 29"/>
                <a:gd name="T15" fmla="*/ 27 h 60"/>
                <a:gd name="T16" fmla="*/ 5 w 29"/>
                <a:gd name="T17" fmla="*/ 10 h 60"/>
                <a:gd name="T18" fmla="*/ 7 w 29"/>
                <a:gd name="T19" fmla="*/ 10 h 60"/>
                <a:gd name="T20" fmla="*/ 7 w 29"/>
                <a:gd name="T21" fmla="*/ 27 h 60"/>
                <a:gd name="T22" fmla="*/ 7 w 29"/>
                <a:gd name="T23" fmla="*/ 27 h 60"/>
                <a:gd name="T24" fmla="*/ 7 w 29"/>
                <a:gd name="T25" fmla="*/ 57 h 60"/>
                <a:gd name="T26" fmla="*/ 11 w 29"/>
                <a:gd name="T27" fmla="*/ 60 h 60"/>
                <a:gd name="T28" fmla="*/ 14 w 29"/>
                <a:gd name="T29" fmla="*/ 57 h 60"/>
                <a:gd name="T30" fmla="*/ 14 w 29"/>
                <a:gd name="T31" fmla="*/ 31 h 60"/>
                <a:gd name="T32" fmla="*/ 15 w 29"/>
                <a:gd name="T33" fmla="*/ 31 h 60"/>
                <a:gd name="T34" fmla="*/ 15 w 29"/>
                <a:gd name="T35" fmla="*/ 57 h 60"/>
                <a:gd name="T36" fmla="*/ 19 w 29"/>
                <a:gd name="T37" fmla="*/ 60 h 60"/>
                <a:gd name="T38" fmla="*/ 22 w 29"/>
                <a:gd name="T39" fmla="*/ 57 h 60"/>
                <a:gd name="T40" fmla="*/ 22 w 29"/>
                <a:gd name="T41" fmla="*/ 27 h 60"/>
                <a:gd name="T42" fmla="*/ 22 w 29"/>
                <a:gd name="T43" fmla="*/ 27 h 60"/>
                <a:gd name="T44" fmla="*/ 22 w 29"/>
                <a:gd name="T45" fmla="*/ 10 h 60"/>
                <a:gd name="T46" fmla="*/ 24 w 29"/>
                <a:gd name="T47" fmla="*/ 10 h 60"/>
                <a:gd name="T48" fmla="*/ 24 w 29"/>
                <a:gd name="T49" fmla="*/ 27 h 60"/>
                <a:gd name="T50" fmla="*/ 26 w 29"/>
                <a:gd name="T51" fmla="*/ 30 h 60"/>
                <a:gd name="T52" fmla="*/ 29 w 29"/>
                <a:gd name="T53" fmla="*/ 27 h 60"/>
                <a:gd name="T54" fmla="*/ 29 w 29"/>
                <a:gd name="T55" fmla="*/ 7 h 60"/>
                <a:gd name="T56" fmla="*/ 29 w 29"/>
                <a:gd name="T57" fmla="*/ 7 h 60"/>
                <a:gd name="T58" fmla="*/ 29 w 29"/>
                <a:gd name="T59" fmla="*/ 6 h 60"/>
                <a:gd name="T60" fmla="*/ 22 w 29"/>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60">
                  <a:moveTo>
                    <a:pt x="22" y="0"/>
                  </a:moveTo>
                  <a:cubicBezTo>
                    <a:pt x="8" y="0"/>
                    <a:pt x="8" y="0"/>
                    <a:pt x="8" y="0"/>
                  </a:cubicBezTo>
                  <a:cubicBezTo>
                    <a:pt x="2" y="1"/>
                    <a:pt x="0" y="5"/>
                    <a:pt x="0" y="6"/>
                  </a:cubicBezTo>
                  <a:cubicBezTo>
                    <a:pt x="0" y="7"/>
                    <a:pt x="0" y="7"/>
                    <a:pt x="0" y="7"/>
                  </a:cubicBezTo>
                  <a:cubicBezTo>
                    <a:pt x="0" y="7"/>
                    <a:pt x="0" y="7"/>
                    <a:pt x="0" y="7"/>
                  </a:cubicBezTo>
                  <a:cubicBezTo>
                    <a:pt x="0" y="27"/>
                    <a:pt x="0" y="27"/>
                    <a:pt x="0" y="27"/>
                  </a:cubicBezTo>
                  <a:cubicBezTo>
                    <a:pt x="0" y="29"/>
                    <a:pt x="2" y="30"/>
                    <a:pt x="3"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9" y="60"/>
                    <a:pt x="11" y="60"/>
                  </a:cubicBezTo>
                  <a:cubicBezTo>
                    <a:pt x="12" y="60"/>
                    <a:pt x="14" y="59"/>
                    <a:pt x="14" y="57"/>
                  </a:cubicBezTo>
                  <a:cubicBezTo>
                    <a:pt x="14" y="31"/>
                    <a:pt x="14" y="31"/>
                    <a:pt x="14" y="31"/>
                  </a:cubicBezTo>
                  <a:cubicBezTo>
                    <a:pt x="15" y="31"/>
                    <a:pt x="15" y="31"/>
                    <a:pt x="15" y="31"/>
                  </a:cubicBezTo>
                  <a:cubicBezTo>
                    <a:pt x="15" y="57"/>
                    <a:pt x="15" y="57"/>
                    <a:pt x="15" y="57"/>
                  </a:cubicBezTo>
                  <a:cubicBezTo>
                    <a:pt x="15" y="59"/>
                    <a:pt x="17" y="60"/>
                    <a:pt x="19" y="60"/>
                  </a:cubicBezTo>
                  <a:cubicBezTo>
                    <a:pt x="21" y="60"/>
                    <a:pt x="22" y="59"/>
                    <a:pt x="22" y="57"/>
                  </a:cubicBezTo>
                  <a:cubicBezTo>
                    <a:pt x="22" y="27"/>
                    <a:pt x="22" y="27"/>
                    <a:pt x="22" y="27"/>
                  </a:cubicBezTo>
                  <a:cubicBezTo>
                    <a:pt x="22" y="27"/>
                    <a:pt x="22" y="27"/>
                    <a:pt x="22" y="27"/>
                  </a:cubicBezTo>
                  <a:cubicBezTo>
                    <a:pt x="22" y="10"/>
                    <a:pt x="22" y="10"/>
                    <a:pt x="22" y="10"/>
                  </a:cubicBezTo>
                  <a:cubicBezTo>
                    <a:pt x="24" y="10"/>
                    <a:pt x="24" y="10"/>
                    <a:pt x="24" y="10"/>
                  </a:cubicBezTo>
                  <a:cubicBezTo>
                    <a:pt x="24" y="27"/>
                    <a:pt x="24" y="27"/>
                    <a:pt x="24" y="27"/>
                  </a:cubicBezTo>
                  <a:cubicBezTo>
                    <a:pt x="24" y="29"/>
                    <a:pt x="25" y="30"/>
                    <a:pt x="26" y="30"/>
                  </a:cubicBezTo>
                  <a:cubicBezTo>
                    <a:pt x="28" y="30"/>
                    <a:pt x="29" y="29"/>
                    <a:pt x="29" y="27"/>
                  </a:cubicBezTo>
                  <a:cubicBezTo>
                    <a:pt x="29" y="7"/>
                    <a:pt x="29" y="7"/>
                    <a:pt x="29" y="7"/>
                  </a:cubicBezTo>
                  <a:cubicBezTo>
                    <a:pt x="29" y="7"/>
                    <a:pt x="29" y="7"/>
                    <a:pt x="29" y="7"/>
                  </a:cubicBezTo>
                  <a:cubicBezTo>
                    <a:pt x="29" y="6"/>
                    <a:pt x="29" y="6"/>
                    <a:pt x="29" y="6"/>
                  </a:cubicBezTo>
                  <a:cubicBezTo>
                    <a:pt x="29" y="4"/>
                    <a:pt x="27"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Oval 30"/>
            <p:cNvSpPr>
              <a:spLocks noChangeArrowheads="1"/>
            </p:cNvSpPr>
            <p:nvPr/>
          </p:nvSpPr>
          <p:spPr bwMode="auto">
            <a:xfrm>
              <a:off x="6622629"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 name="Freeform 31"/>
            <p:cNvSpPr/>
            <p:nvPr/>
          </p:nvSpPr>
          <p:spPr bwMode="auto">
            <a:xfrm>
              <a:off x="6889329" y="1842861"/>
              <a:ext cx="311150" cy="647700"/>
            </a:xfrm>
            <a:custGeom>
              <a:avLst/>
              <a:gdLst>
                <a:gd name="T0" fmla="*/ 22 w 29"/>
                <a:gd name="T1" fmla="*/ 0 h 60"/>
                <a:gd name="T2" fmla="*/ 8 w 29"/>
                <a:gd name="T3" fmla="*/ 0 h 60"/>
                <a:gd name="T4" fmla="*/ 0 w 29"/>
                <a:gd name="T5" fmla="*/ 6 h 60"/>
                <a:gd name="T6" fmla="*/ 0 w 29"/>
                <a:gd name="T7" fmla="*/ 7 h 60"/>
                <a:gd name="T8" fmla="*/ 0 w 29"/>
                <a:gd name="T9" fmla="*/ 7 h 60"/>
                <a:gd name="T10" fmla="*/ 0 w 29"/>
                <a:gd name="T11" fmla="*/ 27 h 60"/>
                <a:gd name="T12" fmla="*/ 3 w 29"/>
                <a:gd name="T13" fmla="*/ 30 h 60"/>
                <a:gd name="T14" fmla="*/ 5 w 29"/>
                <a:gd name="T15" fmla="*/ 27 h 60"/>
                <a:gd name="T16" fmla="*/ 5 w 29"/>
                <a:gd name="T17" fmla="*/ 10 h 60"/>
                <a:gd name="T18" fmla="*/ 7 w 29"/>
                <a:gd name="T19" fmla="*/ 10 h 60"/>
                <a:gd name="T20" fmla="*/ 7 w 29"/>
                <a:gd name="T21" fmla="*/ 27 h 60"/>
                <a:gd name="T22" fmla="*/ 7 w 29"/>
                <a:gd name="T23" fmla="*/ 27 h 60"/>
                <a:gd name="T24" fmla="*/ 7 w 29"/>
                <a:gd name="T25" fmla="*/ 57 h 60"/>
                <a:gd name="T26" fmla="*/ 10 w 29"/>
                <a:gd name="T27" fmla="*/ 60 h 60"/>
                <a:gd name="T28" fmla="*/ 14 w 29"/>
                <a:gd name="T29" fmla="*/ 57 h 60"/>
                <a:gd name="T30" fmla="*/ 14 w 29"/>
                <a:gd name="T31" fmla="*/ 31 h 60"/>
                <a:gd name="T32" fmla="*/ 15 w 29"/>
                <a:gd name="T33" fmla="*/ 31 h 60"/>
                <a:gd name="T34" fmla="*/ 15 w 29"/>
                <a:gd name="T35" fmla="*/ 57 h 60"/>
                <a:gd name="T36" fmla="*/ 19 w 29"/>
                <a:gd name="T37" fmla="*/ 60 h 60"/>
                <a:gd name="T38" fmla="*/ 22 w 29"/>
                <a:gd name="T39" fmla="*/ 57 h 60"/>
                <a:gd name="T40" fmla="*/ 22 w 29"/>
                <a:gd name="T41" fmla="*/ 27 h 60"/>
                <a:gd name="T42" fmla="*/ 22 w 29"/>
                <a:gd name="T43" fmla="*/ 27 h 60"/>
                <a:gd name="T44" fmla="*/ 22 w 29"/>
                <a:gd name="T45" fmla="*/ 10 h 60"/>
                <a:gd name="T46" fmla="*/ 24 w 29"/>
                <a:gd name="T47" fmla="*/ 10 h 60"/>
                <a:gd name="T48" fmla="*/ 24 w 29"/>
                <a:gd name="T49" fmla="*/ 27 h 60"/>
                <a:gd name="T50" fmla="*/ 26 w 29"/>
                <a:gd name="T51" fmla="*/ 30 h 60"/>
                <a:gd name="T52" fmla="*/ 29 w 29"/>
                <a:gd name="T53" fmla="*/ 27 h 60"/>
                <a:gd name="T54" fmla="*/ 29 w 29"/>
                <a:gd name="T55" fmla="*/ 7 h 60"/>
                <a:gd name="T56" fmla="*/ 29 w 29"/>
                <a:gd name="T57" fmla="*/ 7 h 60"/>
                <a:gd name="T58" fmla="*/ 29 w 29"/>
                <a:gd name="T59" fmla="*/ 6 h 60"/>
                <a:gd name="T60" fmla="*/ 22 w 29"/>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60">
                  <a:moveTo>
                    <a:pt x="22" y="0"/>
                  </a:moveTo>
                  <a:cubicBezTo>
                    <a:pt x="8" y="0"/>
                    <a:pt x="8" y="0"/>
                    <a:pt x="8" y="0"/>
                  </a:cubicBezTo>
                  <a:cubicBezTo>
                    <a:pt x="2" y="1"/>
                    <a:pt x="0" y="5"/>
                    <a:pt x="0" y="6"/>
                  </a:cubicBezTo>
                  <a:cubicBezTo>
                    <a:pt x="0" y="7"/>
                    <a:pt x="0" y="7"/>
                    <a:pt x="0" y="7"/>
                  </a:cubicBezTo>
                  <a:cubicBezTo>
                    <a:pt x="0" y="7"/>
                    <a:pt x="0" y="7"/>
                    <a:pt x="0" y="7"/>
                  </a:cubicBezTo>
                  <a:cubicBezTo>
                    <a:pt x="0" y="27"/>
                    <a:pt x="0" y="27"/>
                    <a:pt x="0" y="27"/>
                  </a:cubicBezTo>
                  <a:cubicBezTo>
                    <a:pt x="0" y="29"/>
                    <a:pt x="1" y="30"/>
                    <a:pt x="3"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9" y="60"/>
                    <a:pt x="10" y="60"/>
                  </a:cubicBezTo>
                  <a:cubicBezTo>
                    <a:pt x="12" y="60"/>
                    <a:pt x="14" y="59"/>
                    <a:pt x="14" y="57"/>
                  </a:cubicBezTo>
                  <a:cubicBezTo>
                    <a:pt x="14" y="31"/>
                    <a:pt x="14" y="31"/>
                    <a:pt x="14" y="31"/>
                  </a:cubicBezTo>
                  <a:cubicBezTo>
                    <a:pt x="15" y="31"/>
                    <a:pt x="15" y="31"/>
                    <a:pt x="15" y="31"/>
                  </a:cubicBezTo>
                  <a:cubicBezTo>
                    <a:pt x="15" y="57"/>
                    <a:pt x="15" y="57"/>
                    <a:pt x="15" y="57"/>
                  </a:cubicBezTo>
                  <a:cubicBezTo>
                    <a:pt x="15" y="59"/>
                    <a:pt x="17" y="60"/>
                    <a:pt x="19" y="60"/>
                  </a:cubicBezTo>
                  <a:cubicBezTo>
                    <a:pt x="20" y="60"/>
                    <a:pt x="22" y="59"/>
                    <a:pt x="22" y="57"/>
                  </a:cubicBezTo>
                  <a:cubicBezTo>
                    <a:pt x="22" y="27"/>
                    <a:pt x="22" y="27"/>
                    <a:pt x="22" y="27"/>
                  </a:cubicBezTo>
                  <a:cubicBezTo>
                    <a:pt x="22" y="27"/>
                    <a:pt x="22" y="27"/>
                    <a:pt x="22" y="27"/>
                  </a:cubicBezTo>
                  <a:cubicBezTo>
                    <a:pt x="22" y="10"/>
                    <a:pt x="22" y="10"/>
                    <a:pt x="22" y="10"/>
                  </a:cubicBezTo>
                  <a:cubicBezTo>
                    <a:pt x="24" y="10"/>
                    <a:pt x="24" y="10"/>
                    <a:pt x="24" y="10"/>
                  </a:cubicBezTo>
                  <a:cubicBezTo>
                    <a:pt x="24" y="27"/>
                    <a:pt x="24" y="27"/>
                    <a:pt x="24" y="27"/>
                  </a:cubicBezTo>
                  <a:cubicBezTo>
                    <a:pt x="24" y="29"/>
                    <a:pt x="25" y="30"/>
                    <a:pt x="26" y="30"/>
                  </a:cubicBezTo>
                  <a:cubicBezTo>
                    <a:pt x="28" y="30"/>
                    <a:pt x="29" y="29"/>
                    <a:pt x="29" y="27"/>
                  </a:cubicBezTo>
                  <a:cubicBezTo>
                    <a:pt x="29" y="7"/>
                    <a:pt x="29" y="7"/>
                    <a:pt x="29" y="7"/>
                  </a:cubicBezTo>
                  <a:cubicBezTo>
                    <a:pt x="29" y="7"/>
                    <a:pt x="29" y="7"/>
                    <a:pt x="29" y="7"/>
                  </a:cubicBezTo>
                  <a:cubicBezTo>
                    <a:pt x="29" y="6"/>
                    <a:pt x="29" y="6"/>
                    <a:pt x="29" y="6"/>
                  </a:cubicBezTo>
                  <a:cubicBezTo>
                    <a:pt x="29" y="4"/>
                    <a:pt x="26"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 name="Oval 32"/>
            <p:cNvSpPr>
              <a:spLocks noChangeArrowheads="1"/>
            </p:cNvSpPr>
            <p:nvPr/>
          </p:nvSpPr>
          <p:spPr bwMode="auto">
            <a:xfrm>
              <a:off x="6986166"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3" name="Freeform 181"/>
            <p:cNvSpPr/>
            <p:nvPr/>
          </p:nvSpPr>
          <p:spPr bwMode="auto">
            <a:xfrm>
              <a:off x="799264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5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1"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1"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5"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4" name="Oval 182"/>
            <p:cNvSpPr>
              <a:spLocks noChangeArrowheads="1"/>
            </p:cNvSpPr>
            <p:nvPr/>
          </p:nvSpPr>
          <p:spPr bwMode="auto">
            <a:xfrm>
              <a:off x="8078366"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90" name="组合 189"/>
          <p:cNvGrpSpPr/>
          <p:nvPr/>
        </p:nvGrpSpPr>
        <p:grpSpPr>
          <a:xfrm>
            <a:off x="4589165" y="2756911"/>
            <a:ext cx="3439219" cy="682551"/>
            <a:chOff x="4373141" y="1712686"/>
            <a:chExt cx="3919537" cy="777875"/>
          </a:xfrm>
          <a:solidFill>
            <a:srgbClr val="00B050"/>
          </a:solidFill>
        </p:grpSpPr>
        <p:sp>
          <p:nvSpPr>
            <p:cNvPr id="191" name="Freeform 9"/>
            <p:cNvSpPr/>
            <p:nvPr/>
          </p:nvSpPr>
          <p:spPr bwMode="auto">
            <a:xfrm>
              <a:off x="437314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2" name="Oval 10"/>
            <p:cNvSpPr>
              <a:spLocks noChangeArrowheads="1"/>
            </p:cNvSpPr>
            <p:nvPr/>
          </p:nvSpPr>
          <p:spPr bwMode="auto">
            <a:xfrm>
              <a:off x="4458866"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3" name="Freeform 15"/>
            <p:cNvSpPr/>
            <p:nvPr/>
          </p:nvSpPr>
          <p:spPr bwMode="auto">
            <a:xfrm>
              <a:off x="5454229" y="1842861"/>
              <a:ext cx="300037" cy="647700"/>
            </a:xfrm>
            <a:custGeom>
              <a:avLst/>
              <a:gdLst>
                <a:gd name="T0" fmla="*/ 22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2 w 28"/>
                <a:gd name="T39" fmla="*/ 57 h 60"/>
                <a:gd name="T40" fmla="*/ 22 w 28"/>
                <a:gd name="T41" fmla="*/ 27 h 60"/>
                <a:gd name="T42" fmla="*/ 22 w 28"/>
                <a:gd name="T43" fmla="*/ 27 h 60"/>
                <a:gd name="T44" fmla="*/ 22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2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2"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2" y="59"/>
                    <a:pt x="22" y="57"/>
                  </a:cubicBezTo>
                  <a:cubicBezTo>
                    <a:pt x="22" y="27"/>
                    <a:pt x="22" y="27"/>
                    <a:pt x="22" y="27"/>
                  </a:cubicBezTo>
                  <a:cubicBezTo>
                    <a:pt x="22" y="27"/>
                    <a:pt x="22" y="27"/>
                    <a:pt x="22" y="27"/>
                  </a:cubicBezTo>
                  <a:cubicBezTo>
                    <a:pt x="22" y="10"/>
                    <a:pt x="22" y="10"/>
                    <a:pt x="22"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4" name="Oval 16"/>
            <p:cNvSpPr>
              <a:spLocks noChangeArrowheads="1"/>
            </p:cNvSpPr>
            <p:nvPr/>
          </p:nvSpPr>
          <p:spPr bwMode="auto">
            <a:xfrm>
              <a:off x="5539954"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5" name="Freeform 17"/>
            <p:cNvSpPr/>
            <p:nvPr/>
          </p:nvSpPr>
          <p:spPr bwMode="auto">
            <a:xfrm>
              <a:off x="5817766"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6" name="Oval 18"/>
            <p:cNvSpPr>
              <a:spLocks noChangeArrowheads="1"/>
            </p:cNvSpPr>
            <p:nvPr/>
          </p:nvSpPr>
          <p:spPr bwMode="auto">
            <a:xfrm>
              <a:off x="5903491"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7" name="Freeform 19"/>
            <p:cNvSpPr/>
            <p:nvPr/>
          </p:nvSpPr>
          <p:spPr bwMode="auto">
            <a:xfrm>
              <a:off x="618289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8" name="Oval 20"/>
            <p:cNvSpPr>
              <a:spLocks noChangeArrowheads="1"/>
            </p:cNvSpPr>
            <p:nvPr/>
          </p:nvSpPr>
          <p:spPr bwMode="auto">
            <a:xfrm>
              <a:off x="6268616"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9" name="Freeform 21"/>
            <p:cNvSpPr/>
            <p:nvPr/>
          </p:nvSpPr>
          <p:spPr bwMode="auto">
            <a:xfrm>
              <a:off x="4725566"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0" name="Oval 22"/>
            <p:cNvSpPr>
              <a:spLocks noChangeArrowheads="1"/>
            </p:cNvSpPr>
            <p:nvPr/>
          </p:nvSpPr>
          <p:spPr bwMode="auto">
            <a:xfrm>
              <a:off x="4811291"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1" name="Freeform 23"/>
            <p:cNvSpPr/>
            <p:nvPr/>
          </p:nvSpPr>
          <p:spPr bwMode="auto">
            <a:xfrm>
              <a:off x="509069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5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1"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1"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5"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2" name="Oval 24"/>
            <p:cNvSpPr>
              <a:spLocks noChangeArrowheads="1"/>
            </p:cNvSpPr>
            <p:nvPr/>
          </p:nvSpPr>
          <p:spPr bwMode="auto">
            <a:xfrm>
              <a:off x="5176416"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3" name="Freeform 25"/>
            <p:cNvSpPr/>
            <p:nvPr/>
          </p:nvSpPr>
          <p:spPr bwMode="auto">
            <a:xfrm>
              <a:off x="7263979"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4" name="Oval 26"/>
            <p:cNvSpPr>
              <a:spLocks noChangeArrowheads="1"/>
            </p:cNvSpPr>
            <p:nvPr/>
          </p:nvSpPr>
          <p:spPr bwMode="auto">
            <a:xfrm>
              <a:off x="7349704"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5" name="Freeform 27"/>
            <p:cNvSpPr/>
            <p:nvPr/>
          </p:nvSpPr>
          <p:spPr bwMode="auto">
            <a:xfrm>
              <a:off x="7629104"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6" name="Oval 28"/>
            <p:cNvSpPr>
              <a:spLocks noChangeArrowheads="1"/>
            </p:cNvSpPr>
            <p:nvPr/>
          </p:nvSpPr>
          <p:spPr bwMode="auto">
            <a:xfrm>
              <a:off x="7714829"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7" name="Freeform 29"/>
            <p:cNvSpPr/>
            <p:nvPr/>
          </p:nvSpPr>
          <p:spPr bwMode="auto">
            <a:xfrm>
              <a:off x="6525791" y="1842861"/>
              <a:ext cx="309562" cy="647700"/>
            </a:xfrm>
            <a:custGeom>
              <a:avLst/>
              <a:gdLst>
                <a:gd name="T0" fmla="*/ 22 w 29"/>
                <a:gd name="T1" fmla="*/ 0 h 60"/>
                <a:gd name="T2" fmla="*/ 8 w 29"/>
                <a:gd name="T3" fmla="*/ 0 h 60"/>
                <a:gd name="T4" fmla="*/ 0 w 29"/>
                <a:gd name="T5" fmla="*/ 6 h 60"/>
                <a:gd name="T6" fmla="*/ 0 w 29"/>
                <a:gd name="T7" fmla="*/ 7 h 60"/>
                <a:gd name="T8" fmla="*/ 0 w 29"/>
                <a:gd name="T9" fmla="*/ 7 h 60"/>
                <a:gd name="T10" fmla="*/ 0 w 29"/>
                <a:gd name="T11" fmla="*/ 27 h 60"/>
                <a:gd name="T12" fmla="*/ 3 w 29"/>
                <a:gd name="T13" fmla="*/ 30 h 60"/>
                <a:gd name="T14" fmla="*/ 5 w 29"/>
                <a:gd name="T15" fmla="*/ 27 h 60"/>
                <a:gd name="T16" fmla="*/ 5 w 29"/>
                <a:gd name="T17" fmla="*/ 10 h 60"/>
                <a:gd name="T18" fmla="*/ 7 w 29"/>
                <a:gd name="T19" fmla="*/ 10 h 60"/>
                <a:gd name="T20" fmla="*/ 7 w 29"/>
                <a:gd name="T21" fmla="*/ 27 h 60"/>
                <a:gd name="T22" fmla="*/ 7 w 29"/>
                <a:gd name="T23" fmla="*/ 27 h 60"/>
                <a:gd name="T24" fmla="*/ 7 w 29"/>
                <a:gd name="T25" fmla="*/ 57 h 60"/>
                <a:gd name="T26" fmla="*/ 11 w 29"/>
                <a:gd name="T27" fmla="*/ 60 h 60"/>
                <a:gd name="T28" fmla="*/ 14 w 29"/>
                <a:gd name="T29" fmla="*/ 57 h 60"/>
                <a:gd name="T30" fmla="*/ 14 w 29"/>
                <a:gd name="T31" fmla="*/ 31 h 60"/>
                <a:gd name="T32" fmla="*/ 15 w 29"/>
                <a:gd name="T33" fmla="*/ 31 h 60"/>
                <a:gd name="T34" fmla="*/ 15 w 29"/>
                <a:gd name="T35" fmla="*/ 57 h 60"/>
                <a:gd name="T36" fmla="*/ 19 w 29"/>
                <a:gd name="T37" fmla="*/ 60 h 60"/>
                <a:gd name="T38" fmla="*/ 22 w 29"/>
                <a:gd name="T39" fmla="*/ 57 h 60"/>
                <a:gd name="T40" fmla="*/ 22 w 29"/>
                <a:gd name="T41" fmla="*/ 27 h 60"/>
                <a:gd name="T42" fmla="*/ 22 w 29"/>
                <a:gd name="T43" fmla="*/ 27 h 60"/>
                <a:gd name="T44" fmla="*/ 22 w 29"/>
                <a:gd name="T45" fmla="*/ 10 h 60"/>
                <a:gd name="T46" fmla="*/ 24 w 29"/>
                <a:gd name="T47" fmla="*/ 10 h 60"/>
                <a:gd name="T48" fmla="*/ 24 w 29"/>
                <a:gd name="T49" fmla="*/ 27 h 60"/>
                <a:gd name="T50" fmla="*/ 26 w 29"/>
                <a:gd name="T51" fmla="*/ 30 h 60"/>
                <a:gd name="T52" fmla="*/ 29 w 29"/>
                <a:gd name="T53" fmla="*/ 27 h 60"/>
                <a:gd name="T54" fmla="*/ 29 w 29"/>
                <a:gd name="T55" fmla="*/ 7 h 60"/>
                <a:gd name="T56" fmla="*/ 29 w 29"/>
                <a:gd name="T57" fmla="*/ 7 h 60"/>
                <a:gd name="T58" fmla="*/ 29 w 29"/>
                <a:gd name="T59" fmla="*/ 6 h 60"/>
                <a:gd name="T60" fmla="*/ 22 w 29"/>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60">
                  <a:moveTo>
                    <a:pt x="22" y="0"/>
                  </a:moveTo>
                  <a:cubicBezTo>
                    <a:pt x="8" y="0"/>
                    <a:pt x="8" y="0"/>
                    <a:pt x="8" y="0"/>
                  </a:cubicBezTo>
                  <a:cubicBezTo>
                    <a:pt x="2" y="1"/>
                    <a:pt x="0" y="5"/>
                    <a:pt x="0" y="6"/>
                  </a:cubicBezTo>
                  <a:cubicBezTo>
                    <a:pt x="0" y="7"/>
                    <a:pt x="0" y="7"/>
                    <a:pt x="0" y="7"/>
                  </a:cubicBezTo>
                  <a:cubicBezTo>
                    <a:pt x="0" y="7"/>
                    <a:pt x="0" y="7"/>
                    <a:pt x="0" y="7"/>
                  </a:cubicBezTo>
                  <a:cubicBezTo>
                    <a:pt x="0" y="27"/>
                    <a:pt x="0" y="27"/>
                    <a:pt x="0" y="27"/>
                  </a:cubicBezTo>
                  <a:cubicBezTo>
                    <a:pt x="0" y="29"/>
                    <a:pt x="2" y="30"/>
                    <a:pt x="3"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9" y="60"/>
                    <a:pt x="11" y="60"/>
                  </a:cubicBezTo>
                  <a:cubicBezTo>
                    <a:pt x="12" y="60"/>
                    <a:pt x="14" y="59"/>
                    <a:pt x="14" y="57"/>
                  </a:cubicBezTo>
                  <a:cubicBezTo>
                    <a:pt x="14" y="31"/>
                    <a:pt x="14" y="31"/>
                    <a:pt x="14" y="31"/>
                  </a:cubicBezTo>
                  <a:cubicBezTo>
                    <a:pt x="15" y="31"/>
                    <a:pt x="15" y="31"/>
                    <a:pt x="15" y="31"/>
                  </a:cubicBezTo>
                  <a:cubicBezTo>
                    <a:pt x="15" y="57"/>
                    <a:pt x="15" y="57"/>
                    <a:pt x="15" y="57"/>
                  </a:cubicBezTo>
                  <a:cubicBezTo>
                    <a:pt x="15" y="59"/>
                    <a:pt x="17" y="60"/>
                    <a:pt x="19" y="60"/>
                  </a:cubicBezTo>
                  <a:cubicBezTo>
                    <a:pt x="21" y="60"/>
                    <a:pt x="22" y="59"/>
                    <a:pt x="22" y="57"/>
                  </a:cubicBezTo>
                  <a:cubicBezTo>
                    <a:pt x="22" y="27"/>
                    <a:pt x="22" y="27"/>
                    <a:pt x="22" y="27"/>
                  </a:cubicBezTo>
                  <a:cubicBezTo>
                    <a:pt x="22" y="27"/>
                    <a:pt x="22" y="27"/>
                    <a:pt x="22" y="27"/>
                  </a:cubicBezTo>
                  <a:cubicBezTo>
                    <a:pt x="22" y="10"/>
                    <a:pt x="22" y="10"/>
                    <a:pt x="22" y="10"/>
                  </a:cubicBezTo>
                  <a:cubicBezTo>
                    <a:pt x="24" y="10"/>
                    <a:pt x="24" y="10"/>
                    <a:pt x="24" y="10"/>
                  </a:cubicBezTo>
                  <a:cubicBezTo>
                    <a:pt x="24" y="27"/>
                    <a:pt x="24" y="27"/>
                    <a:pt x="24" y="27"/>
                  </a:cubicBezTo>
                  <a:cubicBezTo>
                    <a:pt x="24" y="29"/>
                    <a:pt x="25" y="30"/>
                    <a:pt x="26" y="30"/>
                  </a:cubicBezTo>
                  <a:cubicBezTo>
                    <a:pt x="28" y="30"/>
                    <a:pt x="29" y="29"/>
                    <a:pt x="29" y="27"/>
                  </a:cubicBezTo>
                  <a:cubicBezTo>
                    <a:pt x="29" y="7"/>
                    <a:pt x="29" y="7"/>
                    <a:pt x="29" y="7"/>
                  </a:cubicBezTo>
                  <a:cubicBezTo>
                    <a:pt x="29" y="7"/>
                    <a:pt x="29" y="7"/>
                    <a:pt x="29" y="7"/>
                  </a:cubicBezTo>
                  <a:cubicBezTo>
                    <a:pt x="29" y="6"/>
                    <a:pt x="29" y="6"/>
                    <a:pt x="29" y="6"/>
                  </a:cubicBezTo>
                  <a:cubicBezTo>
                    <a:pt x="29" y="4"/>
                    <a:pt x="27"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8" name="Oval 30"/>
            <p:cNvSpPr>
              <a:spLocks noChangeArrowheads="1"/>
            </p:cNvSpPr>
            <p:nvPr/>
          </p:nvSpPr>
          <p:spPr bwMode="auto">
            <a:xfrm>
              <a:off x="6622629"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9" name="Freeform 31"/>
            <p:cNvSpPr/>
            <p:nvPr/>
          </p:nvSpPr>
          <p:spPr bwMode="auto">
            <a:xfrm>
              <a:off x="6889329" y="1842861"/>
              <a:ext cx="311150" cy="647700"/>
            </a:xfrm>
            <a:custGeom>
              <a:avLst/>
              <a:gdLst>
                <a:gd name="T0" fmla="*/ 22 w 29"/>
                <a:gd name="T1" fmla="*/ 0 h 60"/>
                <a:gd name="T2" fmla="*/ 8 w 29"/>
                <a:gd name="T3" fmla="*/ 0 h 60"/>
                <a:gd name="T4" fmla="*/ 0 w 29"/>
                <a:gd name="T5" fmla="*/ 6 h 60"/>
                <a:gd name="T6" fmla="*/ 0 w 29"/>
                <a:gd name="T7" fmla="*/ 7 h 60"/>
                <a:gd name="T8" fmla="*/ 0 w 29"/>
                <a:gd name="T9" fmla="*/ 7 h 60"/>
                <a:gd name="T10" fmla="*/ 0 w 29"/>
                <a:gd name="T11" fmla="*/ 27 h 60"/>
                <a:gd name="T12" fmla="*/ 3 w 29"/>
                <a:gd name="T13" fmla="*/ 30 h 60"/>
                <a:gd name="T14" fmla="*/ 5 w 29"/>
                <a:gd name="T15" fmla="*/ 27 h 60"/>
                <a:gd name="T16" fmla="*/ 5 w 29"/>
                <a:gd name="T17" fmla="*/ 10 h 60"/>
                <a:gd name="T18" fmla="*/ 7 w 29"/>
                <a:gd name="T19" fmla="*/ 10 h 60"/>
                <a:gd name="T20" fmla="*/ 7 w 29"/>
                <a:gd name="T21" fmla="*/ 27 h 60"/>
                <a:gd name="T22" fmla="*/ 7 w 29"/>
                <a:gd name="T23" fmla="*/ 27 h 60"/>
                <a:gd name="T24" fmla="*/ 7 w 29"/>
                <a:gd name="T25" fmla="*/ 57 h 60"/>
                <a:gd name="T26" fmla="*/ 10 w 29"/>
                <a:gd name="T27" fmla="*/ 60 h 60"/>
                <a:gd name="T28" fmla="*/ 14 w 29"/>
                <a:gd name="T29" fmla="*/ 57 h 60"/>
                <a:gd name="T30" fmla="*/ 14 w 29"/>
                <a:gd name="T31" fmla="*/ 31 h 60"/>
                <a:gd name="T32" fmla="*/ 15 w 29"/>
                <a:gd name="T33" fmla="*/ 31 h 60"/>
                <a:gd name="T34" fmla="*/ 15 w 29"/>
                <a:gd name="T35" fmla="*/ 57 h 60"/>
                <a:gd name="T36" fmla="*/ 19 w 29"/>
                <a:gd name="T37" fmla="*/ 60 h 60"/>
                <a:gd name="T38" fmla="*/ 22 w 29"/>
                <a:gd name="T39" fmla="*/ 57 h 60"/>
                <a:gd name="T40" fmla="*/ 22 w 29"/>
                <a:gd name="T41" fmla="*/ 27 h 60"/>
                <a:gd name="T42" fmla="*/ 22 w 29"/>
                <a:gd name="T43" fmla="*/ 27 h 60"/>
                <a:gd name="T44" fmla="*/ 22 w 29"/>
                <a:gd name="T45" fmla="*/ 10 h 60"/>
                <a:gd name="T46" fmla="*/ 24 w 29"/>
                <a:gd name="T47" fmla="*/ 10 h 60"/>
                <a:gd name="T48" fmla="*/ 24 w 29"/>
                <a:gd name="T49" fmla="*/ 27 h 60"/>
                <a:gd name="T50" fmla="*/ 26 w 29"/>
                <a:gd name="T51" fmla="*/ 30 h 60"/>
                <a:gd name="T52" fmla="*/ 29 w 29"/>
                <a:gd name="T53" fmla="*/ 27 h 60"/>
                <a:gd name="T54" fmla="*/ 29 w 29"/>
                <a:gd name="T55" fmla="*/ 7 h 60"/>
                <a:gd name="T56" fmla="*/ 29 w 29"/>
                <a:gd name="T57" fmla="*/ 7 h 60"/>
                <a:gd name="T58" fmla="*/ 29 w 29"/>
                <a:gd name="T59" fmla="*/ 6 h 60"/>
                <a:gd name="T60" fmla="*/ 22 w 29"/>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60">
                  <a:moveTo>
                    <a:pt x="22" y="0"/>
                  </a:moveTo>
                  <a:cubicBezTo>
                    <a:pt x="8" y="0"/>
                    <a:pt x="8" y="0"/>
                    <a:pt x="8" y="0"/>
                  </a:cubicBezTo>
                  <a:cubicBezTo>
                    <a:pt x="2" y="1"/>
                    <a:pt x="0" y="5"/>
                    <a:pt x="0" y="6"/>
                  </a:cubicBezTo>
                  <a:cubicBezTo>
                    <a:pt x="0" y="7"/>
                    <a:pt x="0" y="7"/>
                    <a:pt x="0" y="7"/>
                  </a:cubicBezTo>
                  <a:cubicBezTo>
                    <a:pt x="0" y="7"/>
                    <a:pt x="0" y="7"/>
                    <a:pt x="0" y="7"/>
                  </a:cubicBezTo>
                  <a:cubicBezTo>
                    <a:pt x="0" y="27"/>
                    <a:pt x="0" y="27"/>
                    <a:pt x="0" y="27"/>
                  </a:cubicBezTo>
                  <a:cubicBezTo>
                    <a:pt x="0" y="29"/>
                    <a:pt x="1" y="30"/>
                    <a:pt x="3"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9" y="60"/>
                    <a:pt x="10" y="60"/>
                  </a:cubicBezTo>
                  <a:cubicBezTo>
                    <a:pt x="12" y="60"/>
                    <a:pt x="14" y="59"/>
                    <a:pt x="14" y="57"/>
                  </a:cubicBezTo>
                  <a:cubicBezTo>
                    <a:pt x="14" y="31"/>
                    <a:pt x="14" y="31"/>
                    <a:pt x="14" y="31"/>
                  </a:cubicBezTo>
                  <a:cubicBezTo>
                    <a:pt x="15" y="31"/>
                    <a:pt x="15" y="31"/>
                    <a:pt x="15" y="31"/>
                  </a:cubicBezTo>
                  <a:cubicBezTo>
                    <a:pt x="15" y="57"/>
                    <a:pt x="15" y="57"/>
                    <a:pt x="15" y="57"/>
                  </a:cubicBezTo>
                  <a:cubicBezTo>
                    <a:pt x="15" y="59"/>
                    <a:pt x="17" y="60"/>
                    <a:pt x="19" y="60"/>
                  </a:cubicBezTo>
                  <a:cubicBezTo>
                    <a:pt x="20" y="60"/>
                    <a:pt x="22" y="59"/>
                    <a:pt x="22" y="57"/>
                  </a:cubicBezTo>
                  <a:cubicBezTo>
                    <a:pt x="22" y="27"/>
                    <a:pt x="22" y="27"/>
                    <a:pt x="22" y="27"/>
                  </a:cubicBezTo>
                  <a:cubicBezTo>
                    <a:pt x="22" y="27"/>
                    <a:pt x="22" y="27"/>
                    <a:pt x="22" y="27"/>
                  </a:cubicBezTo>
                  <a:cubicBezTo>
                    <a:pt x="22" y="10"/>
                    <a:pt x="22" y="10"/>
                    <a:pt x="22" y="10"/>
                  </a:cubicBezTo>
                  <a:cubicBezTo>
                    <a:pt x="24" y="10"/>
                    <a:pt x="24" y="10"/>
                    <a:pt x="24" y="10"/>
                  </a:cubicBezTo>
                  <a:cubicBezTo>
                    <a:pt x="24" y="27"/>
                    <a:pt x="24" y="27"/>
                    <a:pt x="24" y="27"/>
                  </a:cubicBezTo>
                  <a:cubicBezTo>
                    <a:pt x="24" y="29"/>
                    <a:pt x="25" y="30"/>
                    <a:pt x="26" y="30"/>
                  </a:cubicBezTo>
                  <a:cubicBezTo>
                    <a:pt x="28" y="30"/>
                    <a:pt x="29" y="29"/>
                    <a:pt x="29" y="27"/>
                  </a:cubicBezTo>
                  <a:cubicBezTo>
                    <a:pt x="29" y="7"/>
                    <a:pt x="29" y="7"/>
                    <a:pt x="29" y="7"/>
                  </a:cubicBezTo>
                  <a:cubicBezTo>
                    <a:pt x="29" y="7"/>
                    <a:pt x="29" y="7"/>
                    <a:pt x="29" y="7"/>
                  </a:cubicBezTo>
                  <a:cubicBezTo>
                    <a:pt x="29" y="6"/>
                    <a:pt x="29" y="6"/>
                    <a:pt x="29" y="6"/>
                  </a:cubicBezTo>
                  <a:cubicBezTo>
                    <a:pt x="29" y="4"/>
                    <a:pt x="26"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0" name="Oval 32"/>
            <p:cNvSpPr>
              <a:spLocks noChangeArrowheads="1"/>
            </p:cNvSpPr>
            <p:nvPr/>
          </p:nvSpPr>
          <p:spPr bwMode="auto">
            <a:xfrm>
              <a:off x="6986166"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1" name="Freeform 181"/>
            <p:cNvSpPr/>
            <p:nvPr/>
          </p:nvSpPr>
          <p:spPr bwMode="auto">
            <a:xfrm>
              <a:off x="799264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5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1"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1"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5"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2" name="Oval 182"/>
            <p:cNvSpPr>
              <a:spLocks noChangeArrowheads="1"/>
            </p:cNvSpPr>
            <p:nvPr/>
          </p:nvSpPr>
          <p:spPr bwMode="auto">
            <a:xfrm>
              <a:off x="8078366"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13" name="组合 212"/>
          <p:cNvGrpSpPr/>
          <p:nvPr/>
        </p:nvGrpSpPr>
        <p:grpSpPr>
          <a:xfrm>
            <a:off x="4589165" y="3808449"/>
            <a:ext cx="3439219" cy="682551"/>
            <a:chOff x="4373141" y="1712686"/>
            <a:chExt cx="3919537" cy="777875"/>
          </a:xfrm>
          <a:solidFill>
            <a:schemeClr val="accent6">
              <a:lumMod val="75000"/>
            </a:schemeClr>
          </a:solidFill>
        </p:grpSpPr>
        <p:sp>
          <p:nvSpPr>
            <p:cNvPr id="214" name="Freeform 9"/>
            <p:cNvSpPr/>
            <p:nvPr/>
          </p:nvSpPr>
          <p:spPr bwMode="auto">
            <a:xfrm>
              <a:off x="437314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5" name="Oval 10"/>
            <p:cNvSpPr>
              <a:spLocks noChangeArrowheads="1"/>
            </p:cNvSpPr>
            <p:nvPr/>
          </p:nvSpPr>
          <p:spPr bwMode="auto">
            <a:xfrm>
              <a:off x="4458866"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6" name="Freeform 15"/>
            <p:cNvSpPr/>
            <p:nvPr/>
          </p:nvSpPr>
          <p:spPr bwMode="auto">
            <a:xfrm>
              <a:off x="5454229" y="1842861"/>
              <a:ext cx="300037" cy="647700"/>
            </a:xfrm>
            <a:custGeom>
              <a:avLst/>
              <a:gdLst>
                <a:gd name="T0" fmla="*/ 22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2 w 28"/>
                <a:gd name="T39" fmla="*/ 57 h 60"/>
                <a:gd name="T40" fmla="*/ 22 w 28"/>
                <a:gd name="T41" fmla="*/ 27 h 60"/>
                <a:gd name="T42" fmla="*/ 22 w 28"/>
                <a:gd name="T43" fmla="*/ 27 h 60"/>
                <a:gd name="T44" fmla="*/ 22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2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2"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2" y="59"/>
                    <a:pt x="22" y="57"/>
                  </a:cubicBezTo>
                  <a:cubicBezTo>
                    <a:pt x="22" y="27"/>
                    <a:pt x="22" y="27"/>
                    <a:pt x="22" y="27"/>
                  </a:cubicBezTo>
                  <a:cubicBezTo>
                    <a:pt x="22" y="27"/>
                    <a:pt x="22" y="27"/>
                    <a:pt x="22" y="27"/>
                  </a:cubicBezTo>
                  <a:cubicBezTo>
                    <a:pt x="22" y="10"/>
                    <a:pt x="22" y="10"/>
                    <a:pt x="22"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7" name="Oval 16"/>
            <p:cNvSpPr>
              <a:spLocks noChangeArrowheads="1"/>
            </p:cNvSpPr>
            <p:nvPr/>
          </p:nvSpPr>
          <p:spPr bwMode="auto">
            <a:xfrm>
              <a:off x="5539954"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8" name="Freeform 17"/>
            <p:cNvSpPr/>
            <p:nvPr/>
          </p:nvSpPr>
          <p:spPr bwMode="auto">
            <a:xfrm>
              <a:off x="5817766"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9" name="Oval 18"/>
            <p:cNvSpPr>
              <a:spLocks noChangeArrowheads="1"/>
            </p:cNvSpPr>
            <p:nvPr/>
          </p:nvSpPr>
          <p:spPr bwMode="auto">
            <a:xfrm>
              <a:off x="5903491"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0" name="Freeform 19"/>
            <p:cNvSpPr/>
            <p:nvPr/>
          </p:nvSpPr>
          <p:spPr bwMode="auto">
            <a:xfrm>
              <a:off x="618289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1" name="Oval 20"/>
            <p:cNvSpPr>
              <a:spLocks noChangeArrowheads="1"/>
            </p:cNvSpPr>
            <p:nvPr/>
          </p:nvSpPr>
          <p:spPr bwMode="auto">
            <a:xfrm>
              <a:off x="6268616"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2" name="Freeform 21"/>
            <p:cNvSpPr/>
            <p:nvPr/>
          </p:nvSpPr>
          <p:spPr bwMode="auto">
            <a:xfrm>
              <a:off x="4725566"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3" name="Oval 22"/>
            <p:cNvSpPr>
              <a:spLocks noChangeArrowheads="1"/>
            </p:cNvSpPr>
            <p:nvPr/>
          </p:nvSpPr>
          <p:spPr bwMode="auto">
            <a:xfrm>
              <a:off x="4811291"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4" name="Freeform 23"/>
            <p:cNvSpPr/>
            <p:nvPr/>
          </p:nvSpPr>
          <p:spPr bwMode="auto">
            <a:xfrm>
              <a:off x="509069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5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1"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1"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5"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5" name="Oval 24"/>
            <p:cNvSpPr>
              <a:spLocks noChangeArrowheads="1"/>
            </p:cNvSpPr>
            <p:nvPr/>
          </p:nvSpPr>
          <p:spPr bwMode="auto">
            <a:xfrm>
              <a:off x="5176416"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6" name="Freeform 25"/>
            <p:cNvSpPr/>
            <p:nvPr/>
          </p:nvSpPr>
          <p:spPr bwMode="auto">
            <a:xfrm>
              <a:off x="7263979"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7" name="Oval 26"/>
            <p:cNvSpPr>
              <a:spLocks noChangeArrowheads="1"/>
            </p:cNvSpPr>
            <p:nvPr/>
          </p:nvSpPr>
          <p:spPr bwMode="auto">
            <a:xfrm>
              <a:off x="7349704"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8" name="Freeform 27"/>
            <p:cNvSpPr/>
            <p:nvPr/>
          </p:nvSpPr>
          <p:spPr bwMode="auto">
            <a:xfrm>
              <a:off x="7629104"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9" name="Oval 28"/>
            <p:cNvSpPr>
              <a:spLocks noChangeArrowheads="1"/>
            </p:cNvSpPr>
            <p:nvPr/>
          </p:nvSpPr>
          <p:spPr bwMode="auto">
            <a:xfrm>
              <a:off x="7714829" y="1712686"/>
              <a:ext cx="128587"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0" name="Freeform 29"/>
            <p:cNvSpPr/>
            <p:nvPr/>
          </p:nvSpPr>
          <p:spPr bwMode="auto">
            <a:xfrm>
              <a:off x="6525791" y="1842861"/>
              <a:ext cx="309562" cy="647700"/>
            </a:xfrm>
            <a:custGeom>
              <a:avLst/>
              <a:gdLst>
                <a:gd name="T0" fmla="*/ 22 w 29"/>
                <a:gd name="T1" fmla="*/ 0 h 60"/>
                <a:gd name="T2" fmla="*/ 8 w 29"/>
                <a:gd name="T3" fmla="*/ 0 h 60"/>
                <a:gd name="T4" fmla="*/ 0 w 29"/>
                <a:gd name="T5" fmla="*/ 6 h 60"/>
                <a:gd name="T6" fmla="*/ 0 w 29"/>
                <a:gd name="T7" fmla="*/ 7 h 60"/>
                <a:gd name="T8" fmla="*/ 0 w 29"/>
                <a:gd name="T9" fmla="*/ 7 h 60"/>
                <a:gd name="T10" fmla="*/ 0 w 29"/>
                <a:gd name="T11" fmla="*/ 27 h 60"/>
                <a:gd name="T12" fmla="*/ 3 w 29"/>
                <a:gd name="T13" fmla="*/ 30 h 60"/>
                <a:gd name="T14" fmla="*/ 5 w 29"/>
                <a:gd name="T15" fmla="*/ 27 h 60"/>
                <a:gd name="T16" fmla="*/ 5 w 29"/>
                <a:gd name="T17" fmla="*/ 10 h 60"/>
                <a:gd name="T18" fmla="*/ 7 w 29"/>
                <a:gd name="T19" fmla="*/ 10 h 60"/>
                <a:gd name="T20" fmla="*/ 7 w 29"/>
                <a:gd name="T21" fmla="*/ 27 h 60"/>
                <a:gd name="T22" fmla="*/ 7 w 29"/>
                <a:gd name="T23" fmla="*/ 27 h 60"/>
                <a:gd name="T24" fmla="*/ 7 w 29"/>
                <a:gd name="T25" fmla="*/ 57 h 60"/>
                <a:gd name="T26" fmla="*/ 11 w 29"/>
                <a:gd name="T27" fmla="*/ 60 h 60"/>
                <a:gd name="T28" fmla="*/ 14 w 29"/>
                <a:gd name="T29" fmla="*/ 57 h 60"/>
                <a:gd name="T30" fmla="*/ 14 w 29"/>
                <a:gd name="T31" fmla="*/ 31 h 60"/>
                <a:gd name="T32" fmla="*/ 15 w 29"/>
                <a:gd name="T33" fmla="*/ 31 h 60"/>
                <a:gd name="T34" fmla="*/ 15 w 29"/>
                <a:gd name="T35" fmla="*/ 57 h 60"/>
                <a:gd name="T36" fmla="*/ 19 w 29"/>
                <a:gd name="T37" fmla="*/ 60 h 60"/>
                <a:gd name="T38" fmla="*/ 22 w 29"/>
                <a:gd name="T39" fmla="*/ 57 h 60"/>
                <a:gd name="T40" fmla="*/ 22 w 29"/>
                <a:gd name="T41" fmla="*/ 27 h 60"/>
                <a:gd name="T42" fmla="*/ 22 w 29"/>
                <a:gd name="T43" fmla="*/ 27 h 60"/>
                <a:gd name="T44" fmla="*/ 22 w 29"/>
                <a:gd name="T45" fmla="*/ 10 h 60"/>
                <a:gd name="T46" fmla="*/ 24 w 29"/>
                <a:gd name="T47" fmla="*/ 10 h 60"/>
                <a:gd name="T48" fmla="*/ 24 w 29"/>
                <a:gd name="T49" fmla="*/ 27 h 60"/>
                <a:gd name="T50" fmla="*/ 26 w 29"/>
                <a:gd name="T51" fmla="*/ 30 h 60"/>
                <a:gd name="T52" fmla="*/ 29 w 29"/>
                <a:gd name="T53" fmla="*/ 27 h 60"/>
                <a:gd name="T54" fmla="*/ 29 w 29"/>
                <a:gd name="T55" fmla="*/ 7 h 60"/>
                <a:gd name="T56" fmla="*/ 29 w 29"/>
                <a:gd name="T57" fmla="*/ 7 h 60"/>
                <a:gd name="T58" fmla="*/ 29 w 29"/>
                <a:gd name="T59" fmla="*/ 6 h 60"/>
                <a:gd name="T60" fmla="*/ 22 w 29"/>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60">
                  <a:moveTo>
                    <a:pt x="22" y="0"/>
                  </a:moveTo>
                  <a:cubicBezTo>
                    <a:pt x="8" y="0"/>
                    <a:pt x="8" y="0"/>
                    <a:pt x="8" y="0"/>
                  </a:cubicBezTo>
                  <a:cubicBezTo>
                    <a:pt x="2" y="1"/>
                    <a:pt x="0" y="5"/>
                    <a:pt x="0" y="6"/>
                  </a:cubicBezTo>
                  <a:cubicBezTo>
                    <a:pt x="0" y="7"/>
                    <a:pt x="0" y="7"/>
                    <a:pt x="0" y="7"/>
                  </a:cubicBezTo>
                  <a:cubicBezTo>
                    <a:pt x="0" y="7"/>
                    <a:pt x="0" y="7"/>
                    <a:pt x="0" y="7"/>
                  </a:cubicBezTo>
                  <a:cubicBezTo>
                    <a:pt x="0" y="27"/>
                    <a:pt x="0" y="27"/>
                    <a:pt x="0" y="27"/>
                  </a:cubicBezTo>
                  <a:cubicBezTo>
                    <a:pt x="0" y="29"/>
                    <a:pt x="2" y="30"/>
                    <a:pt x="3"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9" y="60"/>
                    <a:pt x="11" y="60"/>
                  </a:cubicBezTo>
                  <a:cubicBezTo>
                    <a:pt x="12" y="60"/>
                    <a:pt x="14" y="59"/>
                    <a:pt x="14" y="57"/>
                  </a:cubicBezTo>
                  <a:cubicBezTo>
                    <a:pt x="14" y="31"/>
                    <a:pt x="14" y="31"/>
                    <a:pt x="14" y="31"/>
                  </a:cubicBezTo>
                  <a:cubicBezTo>
                    <a:pt x="15" y="31"/>
                    <a:pt x="15" y="31"/>
                    <a:pt x="15" y="31"/>
                  </a:cubicBezTo>
                  <a:cubicBezTo>
                    <a:pt x="15" y="57"/>
                    <a:pt x="15" y="57"/>
                    <a:pt x="15" y="57"/>
                  </a:cubicBezTo>
                  <a:cubicBezTo>
                    <a:pt x="15" y="59"/>
                    <a:pt x="17" y="60"/>
                    <a:pt x="19" y="60"/>
                  </a:cubicBezTo>
                  <a:cubicBezTo>
                    <a:pt x="21" y="60"/>
                    <a:pt x="22" y="59"/>
                    <a:pt x="22" y="57"/>
                  </a:cubicBezTo>
                  <a:cubicBezTo>
                    <a:pt x="22" y="27"/>
                    <a:pt x="22" y="27"/>
                    <a:pt x="22" y="27"/>
                  </a:cubicBezTo>
                  <a:cubicBezTo>
                    <a:pt x="22" y="27"/>
                    <a:pt x="22" y="27"/>
                    <a:pt x="22" y="27"/>
                  </a:cubicBezTo>
                  <a:cubicBezTo>
                    <a:pt x="22" y="10"/>
                    <a:pt x="22" y="10"/>
                    <a:pt x="22" y="10"/>
                  </a:cubicBezTo>
                  <a:cubicBezTo>
                    <a:pt x="24" y="10"/>
                    <a:pt x="24" y="10"/>
                    <a:pt x="24" y="10"/>
                  </a:cubicBezTo>
                  <a:cubicBezTo>
                    <a:pt x="24" y="27"/>
                    <a:pt x="24" y="27"/>
                    <a:pt x="24" y="27"/>
                  </a:cubicBezTo>
                  <a:cubicBezTo>
                    <a:pt x="24" y="29"/>
                    <a:pt x="25" y="30"/>
                    <a:pt x="26" y="30"/>
                  </a:cubicBezTo>
                  <a:cubicBezTo>
                    <a:pt x="28" y="30"/>
                    <a:pt x="29" y="29"/>
                    <a:pt x="29" y="27"/>
                  </a:cubicBezTo>
                  <a:cubicBezTo>
                    <a:pt x="29" y="7"/>
                    <a:pt x="29" y="7"/>
                    <a:pt x="29" y="7"/>
                  </a:cubicBezTo>
                  <a:cubicBezTo>
                    <a:pt x="29" y="7"/>
                    <a:pt x="29" y="7"/>
                    <a:pt x="29" y="7"/>
                  </a:cubicBezTo>
                  <a:cubicBezTo>
                    <a:pt x="29" y="6"/>
                    <a:pt x="29" y="6"/>
                    <a:pt x="29" y="6"/>
                  </a:cubicBezTo>
                  <a:cubicBezTo>
                    <a:pt x="29" y="4"/>
                    <a:pt x="27"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1" name="Oval 30"/>
            <p:cNvSpPr>
              <a:spLocks noChangeArrowheads="1"/>
            </p:cNvSpPr>
            <p:nvPr/>
          </p:nvSpPr>
          <p:spPr bwMode="auto">
            <a:xfrm>
              <a:off x="6622629"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2" name="Freeform 31"/>
            <p:cNvSpPr/>
            <p:nvPr/>
          </p:nvSpPr>
          <p:spPr bwMode="auto">
            <a:xfrm>
              <a:off x="6889329" y="1842861"/>
              <a:ext cx="311150" cy="647700"/>
            </a:xfrm>
            <a:custGeom>
              <a:avLst/>
              <a:gdLst>
                <a:gd name="T0" fmla="*/ 22 w 29"/>
                <a:gd name="T1" fmla="*/ 0 h 60"/>
                <a:gd name="T2" fmla="*/ 8 w 29"/>
                <a:gd name="T3" fmla="*/ 0 h 60"/>
                <a:gd name="T4" fmla="*/ 0 w 29"/>
                <a:gd name="T5" fmla="*/ 6 h 60"/>
                <a:gd name="T6" fmla="*/ 0 w 29"/>
                <a:gd name="T7" fmla="*/ 7 h 60"/>
                <a:gd name="T8" fmla="*/ 0 w 29"/>
                <a:gd name="T9" fmla="*/ 7 h 60"/>
                <a:gd name="T10" fmla="*/ 0 w 29"/>
                <a:gd name="T11" fmla="*/ 27 h 60"/>
                <a:gd name="T12" fmla="*/ 3 w 29"/>
                <a:gd name="T13" fmla="*/ 30 h 60"/>
                <a:gd name="T14" fmla="*/ 5 w 29"/>
                <a:gd name="T15" fmla="*/ 27 h 60"/>
                <a:gd name="T16" fmla="*/ 5 w 29"/>
                <a:gd name="T17" fmla="*/ 10 h 60"/>
                <a:gd name="T18" fmla="*/ 7 w 29"/>
                <a:gd name="T19" fmla="*/ 10 h 60"/>
                <a:gd name="T20" fmla="*/ 7 w 29"/>
                <a:gd name="T21" fmla="*/ 27 h 60"/>
                <a:gd name="T22" fmla="*/ 7 w 29"/>
                <a:gd name="T23" fmla="*/ 27 h 60"/>
                <a:gd name="T24" fmla="*/ 7 w 29"/>
                <a:gd name="T25" fmla="*/ 57 h 60"/>
                <a:gd name="T26" fmla="*/ 10 w 29"/>
                <a:gd name="T27" fmla="*/ 60 h 60"/>
                <a:gd name="T28" fmla="*/ 14 w 29"/>
                <a:gd name="T29" fmla="*/ 57 h 60"/>
                <a:gd name="T30" fmla="*/ 14 w 29"/>
                <a:gd name="T31" fmla="*/ 31 h 60"/>
                <a:gd name="T32" fmla="*/ 15 w 29"/>
                <a:gd name="T33" fmla="*/ 31 h 60"/>
                <a:gd name="T34" fmla="*/ 15 w 29"/>
                <a:gd name="T35" fmla="*/ 57 h 60"/>
                <a:gd name="T36" fmla="*/ 19 w 29"/>
                <a:gd name="T37" fmla="*/ 60 h 60"/>
                <a:gd name="T38" fmla="*/ 22 w 29"/>
                <a:gd name="T39" fmla="*/ 57 h 60"/>
                <a:gd name="T40" fmla="*/ 22 w 29"/>
                <a:gd name="T41" fmla="*/ 27 h 60"/>
                <a:gd name="T42" fmla="*/ 22 w 29"/>
                <a:gd name="T43" fmla="*/ 27 h 60"/>
                <a:gd name="T44" fmla="*/ 22 w 29"/>
                <a:gd name="T45" fmla="*/ 10 h 60"/>
                <a:gd name="T46" fmla="*/ 24 w 29"/>
                <a:gd name="T47" fmla="*/ 10 h 60"/>
                <a:gd name="T48" fmla="*/ 24 w 29"/>
                <a:gd name="T49" fmla="*/ 27 h 60"/>
                <a:gd name="T50" fmla="*/ 26 w 29"/>
                <a:gd name="T51" fmla="*/ 30 h 60"/>
                <a:gd name="T52" fmla="*/ 29 w 29"/>
                <a:gd name="T53" fmla="*/ 27 h 60"/>
                <a:gd name="T54" fmla="*/ 29 w 29"/>
                <a:gd name="T55" fmla="*/ 7 h 60"/>
                <a:gd name="T56" fmla="*/ 29 w 29"/>
                <a:gd name="T57" fmla="*/ 7 h 60"/>
                <a:gd name="T58" fmla="*/ 29 w 29"/>
                <a:gd name="T59" fmla="*/ 6 h 60"/>
                <a:gd name="T60" fmla="*/ 22 w 29"/>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60">
                  <a:moveTo>
                    <a:pt x="22" y="0"/>
                  </a:moveTo>
                  <a:cubicBezTo>
                    <a:pt x="8" y="0"/>
                    <a:pt x="8" y="0"/>
                    <a:pt x="8" y="0"/>
                  </a:cubicBezTo>
                  <a:cubicBezTo>
                    <a:pt x="2" y="1"/>
                    <a:pt x="0" y="5"/>
                    <a:pt x="0" y="6"/>
                  </a:cubicBezTo>
                  <a:cubicBezTo>
                    <a:pt x="0" y="7"/>
                    <a:pt x="0" y="7"/>
                    <a:pt x="0" y="7"/>
                  </a:cubicBezTo>
                  <a:cubicBezTo>
                    <a:pt x="0" y="7"/>
                    <a:pt x="0" y="7"/>
                    <a:pt x="0" y="7"/>
                  </a:cubicBezTo>
                  <a:cubicBezTo>
                    <a:pt x="0" y="27"/>
                    <a:pt x="0" y="27"/>
                    <a:pt x="0" y="27"/>
                  </a:cubicBezTo>
                  <a:cubicBezTo>
                    <a:pt x="0" y="29"/>
                    <a:pt x="1" y="30"/>
                    <a:pt x="3"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9" y="60"/>
                    <a:pt x="10" y="60"/>
                  </a:cubicBezTo>
                  <a:cubicBezTo>
                    <a:pt x="12" y="60"/>
                    <a:pt x="14" y="59"/>
                    <a:pt x="14" y="57"/>
                  </a:cubicBezTo>
                  <a:cubicBezTo>
                    <a:pt x="14" y="31"/>
                    <a:pt x="14" y="31"/>
                    <a:pt x="14" y="31"/>
                  </a:cubicBezTo>
                  <a:cubicBezTo>
                    <a:pt x="15" y="31"/>
                    <a:pt x="15" y="31"/>
                    <a:pt x="15" y="31"/>
                  </a:cubicBezTo>
                  <a:cubicBezTo>
                    <a:pt x="15" y="57"/>
                    <a:pt x="15" y="57"/>
                    <a:pt x="15" y="57"/>
                  </a:cubicBezTo>
                  <a:cubicBezTo>
                    <a:pt x="15" y="59"/>
                    <a:pt x="17" y="60"/>
                    <a:pt x="19" y="60"/>
                  </a:cubicBezTo>
                  <a:cubicBezTo>
                    <a:pt x="20" y="60"/>
                    <a:pt x="22" y="59"/>
                    <a:pt x="22" y="57"/>
                  </a:cubicBezTo>
                  <a:cubicBezTo>
                    <a:pt x="22" y="27"/>
                    <a:pt x="22" y="27"/>
                    <a:pt x="22" y="27"/>
                  </a:cubicBezTo>
                  <a:cubicBezTo>
                    <a:pt x="22" y="27"/>
                    <a:pt x="22" y="27"/>
                    <a:pt x="22" y="27"/>
                  </a:cubicBezTo>
                  <a:cubicBezTo>
                    <a:pt x="22" y="10"/>
                    <a:pt x="22" y="10"/>
                    <a:pt x="22" y="10"/>
                  </a:cubicBezTo>
                  <a:cubicBezTo>
                    <a:pt x="24" y="10"/>
                    <a:pt x="24" y="10"/>
                    <a:pt x="24" y="10"/>
                  </a:cubicBezTo>
                  <a:cubicBezTo>
                    <a:pt x="24" y="27"/>
                    <a:pt x="24" y="27"/>
                    <a:pt x="24" y="27"/>
                  </a:cubicBezTo>
                  <a:cubicBezTo>
                    <a:pt x="24" y="29"/>
                    <a:pt x="25" y="30"/>
                    <a:pt x="26" y="30"/>
                  </a:cubicBezTo>
                  <a:cubicBezTo>
                    <a:pt x="28" y="30"/>
                    <a:pt x="29" y="29"/>
                    <a:pt x="29" y="27"/>
                  </a:cubicBezTo>
                  <a:cubicBezTo>
                    <a:pt x="29" y="7"/>
                    <a:pt x="29" y="7"/>
                    <a:pt x="29" y="7"/>
                  </a:cubicBezTo>
                  <a:cubicBezTo>
                    <a:pt x="29" y="7"/>
                    <a:pt x="29" y="7"/>
                    <a:pt x="29" y="7"/>
                  </a:cubicBezTo>
                  <a:cubicBezTo>
                    <a:pt x="29" y="6"/>
                    <a:pt x="29" y="6"/>
                    <a:pt x="29" y="6"/>
                  </a:cubicBezTo>
                  <a:cubicBezTo>
                    <a:pt x="29" y="4"/>
                    <a:pt x="26" y="0"/>
                    <a:pt x="2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3" name="Oval 32"/>
            <p:cNvSpPr>
              <a:spLocks noChangeArrowheads="1"/>
            </p:cNvSpPr>
            <p:nvPr/>
          </p:nvSpPr>
          <p:spPr bwMode="auto">
            <a:xfrm>
              <a:off x="6986166"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4" name="Freeform 181"/>
            <p:cNvSpPr/>
            <p:nvPr/>
          </p:nvSpPr>
          <p:spPr bwMode="auto">
            <a:xfrm>
              <a:off x="7992641" y="1842861"/>
              <a:ext cx="300037" cy="647700"/>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4 w 28"/>
                <a:gd name="T15" fmla="*/ 27 h 60"/>
                <a:gd name="T16" fmla="*/ 4 w 28"/>
                <a:gd name="T17" fmla="*/ 10 h 60"/>
                <a:gd name="T18" fmla="*/ 6 w 28"/>
                <a:gd name="T19" fmla="*/ 10 h 60"/>
                <a:gd name="T20" fmla="*/ 6 w 28"/>
                <a:gd name="T21" fmla="*/ 27 h 60"/>
                <a:gd name="T22" fmla="*/ 6 w 28"/>
                <a:gd name="T23" fmla="*/ 27 h 60"/>
                <a:gd name="T24" fmla="*/ 6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5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1" y="1"/>
                    <a:pt x="0" y="5"/>
                    <a:pt x="0" y="6"/>
                  </a:cubicBezTo>
                  <a:cubicBezTo>
                    <a:pt x="0" y="7"/>
                    <a:pt x="0" y="7"/>
                    <a:pt x="0" y="7"/>
                  </a:cubicBezTo>
                  <a:cubicBezTo>
                    <a:pt x="0" y="7"/>
                    <a:pt x="0" y="7"/>
                    <a:pt x="0" y="7"/>
                  </a:cubicBezTo>
                  <a:cubicBezTo>
                    <a:pt x="0" y="27"/>
                    <a:pt x="0" y="27"/>
                    <a:pt x="0" y="27"/>
                  </a:cubicBezTo>
                  <a:cubicBezTo>
                    <a:pt x="0" y="29"/>
                    <a:pt x="1" y="30"/>
                    <a:pt x="2" y="30"/>
                  </a:cubicBezTo>
                  <a:cubicBezTo>
                    <a:pt x="3" y="30"/>
                    <a:pt x="4" y="29"/>
                    <a:pt x="4" y="27"/>
                  </a:cubicBezTo>
                  <a:cubicBezTo>
                    <a:pt x="4" y="10"/>
                    <a:pt x="4" y="10"/>
                    <a:pt x="4" y="10"/>
                  </a:cubicBezTo>
                  <a:cubicBezTo>
                    <a:pt x="6" y="10"/>
                    <a:pt x="6" y="10"/>
                    <a:pt x="6" y="10"/>
                  </a:cubicBezTo>
                  <a:cubicBezTo>
                    <a:pt x="6" y="27"/>
                    <a:pt x="6" y="27"/>
                    <a:pt x="6" y="27"/>
                  </a:cubicBezTo>
                  <a:cubicBezTo>
                    <a:pt x="6" y="27"/>
                    <a:pt x="6" y="27"/>
                    <a:pt x="6" y="27"/>
                  </a:cubicBezTo>
                  <a:cubicBezTo>
                    <a:pt x="6" y="57"/>
                    <a:pt x="6" y="57"/>
                    <a:pt x="6" y="57"/>
                  </a:cubicBezTo>
                  <a:cubicBezTo>
                    <a:pt x="6" y="59"/>
                    <a:pt x="8" y="60"/>
                    <a:pt x="10" y="60"/>
                  </a:cubicBezTo>
                  <a:cubicBezTo>
                    <a:pt x="11"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5"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5" name="Oval 182"/>
            <p:cNvSpPr>
              <a:spLocks noChangeArrowheads="1"/>
            </p:cNvSpPr>
            <p:nvPr/>
          </p:nvSpPr>
          <p:spPr bwMode="auto">
            <a:xfrm>
              <a:off x="8078366" y="1712686"/>
              <a:ext cx="117475" cy="11906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5" name="组合 4"/>
          <p:cNvGrpSpPr/>
          <p:nvPr/>
        </p:nvGrpSpPr>
        <p:grpSpPr>
          <a:xfrm>
            <a:off x="2106495" y="1717929"/>
            <a:ext cx="2520280" cy="839936"/>
            <a:chOff x="2106495" y="1717929"/>
            <a:chExt cx="2520280" cy="839936"/>
          </a:xfrm>
        </p:grpSpPr>
        <p:sp>
          <p:nvSpPr>
            <p:cNvPr id="238" name="矩形 237"/>
            <p:cNvSpPr/>
            <p:nvPr/>
          </p:nvSpPr>
          <p:spPr>
            <a:xfrm>
              <a:off x="2106495" y="1985401"/>
              <a:ext cx="2520280" cy="572464"/>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a:t>
              </a:r>
            </a:p>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sp>
          <p:nvSpPr>
            <p:cNvPr id="239" name="矩形 238"/>
            <p:cNvSpPr/>
            <p:nvPr/>
          </p:nvSpPr>
          <p:spPr>
            <a:xfrm>
              <a:off x="2106495" y="1717929"/>
              <a:ext cx="1415772" cy="387798"/>
            </a:xfrm>
            <a:prstGeom prst="rect">
              <a:avLst/>
            </a:prstGeom>
          </p:spPr>
          <p:txBody>
            <a:bodyPr wrap="none">
              <a:spAutoFit/>
            </a:bodyPr>
            <a:lstStyle/>
            <a:p>
              <a:pPr>
                <a:lnSpc>
                  <a:spcPct val="120000"/>
                </a:lnSpc>
              </a:pPr>
              <a:r>
                <a:rPr lang="zh-CN" altLang="en-US" sz="1600" dirty="0">
                  <a:latin typeface="方正兰亭超细黑简体" panose="02000000000000000000" pitchFamily="2" charset="-122"/>
                  <a:ea typeface="方正兰亭超细黑简体" panose="02000000000000000000" pitchFamily="2" charset="-122"/>
                </a:rPr>
                <a:t>输入你的标题</a:t>
              </a:r>
              <a:endParaRPr lang="en-US" altLang="zh-CN" sz="1600" dirty="0">
                <a:latin typeface="方正兰亭超细黑简体" panose="02000000000000000000" pitchFamily="2" charset="-122"/>
                <a:ea typeface="方正兰亭超细黑简体" panose="02000000000000000000" pitchFamily="2" charset="-122"/>
              </a:endParaRPr>
            </a:p>
          </p:txBody>
        </p:sp>
      </p:grpSp>
      <p:grpSp>
        <p:nvGrpSpPr>
          <p:cNvPr id="6" name="组合 5"/>
          <p:cNvGrpSpPr/>
          <p:nvPr/>
        </p:nvGrpSpPr>
        <p:grpSpPr>
          <a:xfrm>
            <a:off x="2106495" y="2773603"/>
            <a:ext cx="2520280" cy="839936"/>
            <a:chOff x="2106495" y="2773603"/>
            <a:chExt cx="2520280" cy="839936"/>
          </a:xfrm>
        </p:grpSpPr>
        <p:sp>
          <p:nvSpPr>
            <p:cNvPr id="244" name="矩形 243"/>
            <p:cNvSpPr/>
            <p:nvPr/>
          </p:nvSpPr>
          <p:spPr>
            <a:xfrm>
              <a:off x="2106495" y="3041075"/>
              <a:ext cx="2520280" cy="572464"/>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a:t>
              </a:r>
            </a:p>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sp>
          <p:nvSpPr>
            <p:cNvPr id="245" name="矩形 244"/>
            <p:cNvSpPr/>
            <p:nvPr/>
          </p:nvSpPr>
          <p:spPr>
            <a:xfrm>
              <a:off x="2106495" y="2773603"/>
              <a:ext cx="1415772" cy="387798"/>
            </a:xfrm>
            <a:prstGeom prst="rect">
              <a:avLst/>
            </a:prstGeom>
          </p:spPr>
          <p:txBody>
            <a:bodyPr wrap="none">
              <a:spAutoFit/>
            </a:bodyPr>
            <a:lstStyle/>
            <a:p>
              <a:pPr>
                <a:lnSpc>
                  <a:spcPct val="120000"/>
                </a:lnSpc>
              </a:pPr>
              <a:r>
                <a:rPr lang="zh-CN" altLang="en-US" sz="1600" dirty="0">
                  <a:latin typeface="方正兰亭超细黑简体" panose="02000000000000000000" pitchFamily="2" charset="-122"/>
                  <a:ea typeface="方正兰亭超细黑简体" panose="02000000000000000000" pitchFamily="2" charset="-122"/>
                </a:rPr>
                <a:t>输入你的标题</a:t>
              </a:r>
              <a:endParaRPr lang="en-US" altLang="zh-CN" sz="1600" dirty="0">
                <a:latin typeface="方正兰亭超细黑简体" panose="02000000000000000000" pitchFamily="2" charset="-122"/>
                <a:ea typeface="方正兰亭超细黑简体" panose="02000000000000000000" pitchFamily="2" charset="-122"/>
              </a:endParaRPr>
            </a:p>
          </p:txBody>
        </p:sp>
      </p:grpSp>
      <p:grpSp>
        <p:nvGrpSpPr>
          <p:cNvPr id="7" name="组合 6"/>
          <p:cNvGrpSpPr/>
          <p:nvPr/>
        </p:nvGrpSpPr>
        <p:grpSpPr>
          <a:xfrm>
            <a:off x="2106495" y="3800235"/>
            <a:ext cx="2520280" cy="839936"/>
            <a:chOff x="2106495" y="3800235"/>
            <a:chExt cx="2520280" cy="839936"/>
          </a:xfrm>
        </p:grpSpPr>
        <p:sp>
          <p:nvSpPr>
            <p:cNvPr id="246" name="矩形 245"/>
            <p:cNvSpPr/>
            <p:nvPr/>
          </p:nvSpPr>
          <p:spPr>
            <a:xfrm>
              <a:off x="2106495" y="4067707"/>
              <a:ext cx="2520280" cy="572464"/>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a:t>
              </a:r>
            </a:p>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sp>
          <p:nvSpPr>
            <p:cNvPr id="247" name="矩形 246"/>
            <p:cNvSpPr/>
            <p:nvPr/>
          </p:nvSpPr>
          <p:spPr>
            <a:xfrm>
              <a:off x="2106495" y="3800235"/>
              <a:ext cx="1415772" cy="387798"/>
            </a:xfrm>
            <a:prstGeom prst="rect">
              <a:avLst/>
            </a:prstGeom>
          </p:spPr>
          <p:txBody>
            <a:bodyPr wrap="none">
              <a:spAutoFit/>
            </a:bodyPr>
            <a:lstStyle/>
            <a:p>
              <a:pPr>
                <a:lnSpc>
                  <a:spcPct val="120000"/>
                </a:lnSpc>
              </a:pPr>
              <a:r>
                <a:rPr lang="zh-CN" altLang="en-US" sz="1600" dirty="0">
                  <a:latin typeface="方正兰亭超细黑简体" panose="02000000000000000000" pitchFamily="2" charset="-122"/>
                  <a:ea typeface="方正兰亭超细黑简体" panose="02000000000000000000" pitchFamily="2" charset="-122"/>
                </a:rPr>
                <a:t>输入你的标题</a:t>
              </a:r>
              <a:endParaRPr lang="en-US" altLang="zh-CN" sz="1600" dirty="0">
                <a:latin typeface="方正兰亭超细黑简体" panose="02000000000000000000" pitchFamily="2" charset="-122"/>
                <a:ea typeface="方正兰亭超细黑简体" panose="02000000000000000000" pitchFamily="2" charset="-122"/>
              </a:endParaRPr>
            </a:p>
          </p:txBody>
        </p:sp>
      </p:grpSp>
      <p:grpSp>
        <p:nvGrpSpPr>
          <p:cNvPr id="2" name="组合 1"/>
          <p:cNvGrpSpPr/>
          <p:nvPr/>
        </p:nvGrpSpPr>
        <p:grpSpPr>
          <a:xfrm>
            <a:off x="844749" y="1792448"/>
            <a:ext cx="1152624" cy="578079"/>
            <a:chOff x="844749" y="1792448"/>
            <a:chExt cx="1152624" cy="578079"/>
          </a:xfrm>
        </p:grpSpPr>
        <p:sp>
          <p:nvSpPr>
            <p:cNvPr id="135" name="Rectangle 133"/>
            <p:cNvSpPr>
              <a:spLocks noChangeArrowheads="1"/>
            </p:cNvSpPr>
            <p:nvPr/>
          </p:nvSpPr>
          <p:spPr bwMode="auto">
            <a:xfrm>
              <a:off x="844749" y="1792448"/>
              <a:ext cx="1152624" cy="578079"/>
            </a:xfrm>
            <a:prstGeom prst="rect">
              <a:avLst/>
            </a:prstGeom>
            <a:solidFill>
              <a:srgbClr val="0070C0"/>
            </a:solidFill>
            <a:ln>
              <a:noFill/>
            </a:ln>
          </p:spPr>
          <p:txBody>
            <a:bodyPr vert="horz" wrap="square" lIns="91440" tIns="45720" rIns="91440" bIns="45720" numCol="1" anchor="t" anchorCtr="0" compatLnSpc="1"/>
            <a:lstStyle/>
            <a:p>
              <a:endParaRPr lang="zh-CN" altLang="en-US"/>
            </a:p>
          </p:txBody>
        </p:sp>
        <p:sp>
          <p:nvSpPr>
            <p:cNvPr id="248" name="文本框 247"/>
            <p:cNvSpPr txBox="1"/>
            <p:nvPr/>
          </p:nvSpPr>
          <p:spPr>
            <a:xfrm>
              <a:off x="1060773" y="1830224"/>
              <a:ext cx="829698" cy="523220"/>
            </a:xfrm>
            <a:prstGeom prst="rect">
              <a:avLst/>
            </a:prstGeom>
            <a:noFill/>
          </p:spPr>
          <p:txBody>
            <a:bodyPr wrap="square" rtlCol="0">
              <a:spAutoFit/>
            </a:bodyPr>
            <a:lstStyle/>
            <a:p>
              <a:r>
                <a:rPr lang="en-US" altLang="zh-CN" sz="2800" dirty="0">
                  <a:solidFill>
                    <a:schemeClr val="bg1"/>
                  </a:solidFill>
                </a:rPr>
                <a:t>70%</a:t>
              </a:r>
              <a:endParaRPr lang="zh-CN" altLang="en-US" sz="2800" dirty="0">
                <a:solidFill>
                  <a:schemeClr val="bg1"/>
                </a:solidFill>
              </a:endParaRPr>
            </a:p>
          </p:txBody>
        </p:sp>
      </p:grpSp>
      <p:grpSp>
        <p:nvGrpSpPr>
          <p:cNvPr id="3" name="组合 2"/>
          <p:cNvGrpSpPr/>
          <p:nvPr/>
        </p:nvGrpSpPr>
        <p:grpSpPr>
          <a:xfrm>
            <a:off x="844749" y="2861383"/>
            <a:ext cx="1152624" cy="578079"/>
            <a:chOff x="844749" y="2861383"/>
            <a:chExt cx="1152624" cy="578079"/>
          </a:xfrm>
        </p:grpSpPr>
        <p:sp>
          <p:nvSpPr>
            <p:cNvPr id="236" name="Rectangle 133"/>
            <p:cNvSpPr>
              <a:spLocks noChangeArrowheads="1"/>
            </p:cNvSpPr>
            <p:nvPr/>
          </p:nvSpPr>
          <p:spPr bwMode="auto">
            <a:xfrm>
              <a:off x="844749" y="2861383"/>
              <a:ext cx="1152624" cy="578079"/>
            </a:xfrm>
            <a:prstGeom prst="rect">
              <a:avLst/>
            </a:prstGeom>
            <a:solidFill>
              <a:srgbClr val="00B050"/>
            </a:solidFill>
            <a:ln>
              <a:noFill/>
            </a:ln>
          </p:spPr>
          <p:txBody>
            <a:bodyPr vert="horz" wrap="square" lIns="91440" tIns="45720" rIns="91440" bIns="45720" numCol="1" anchor="t" anchorCtr="0" compatLnSpc="1"/>
            <a:lstStyle/>
            <a:p>
              <a:endParaRPr lang="zh-CN" altLang="en-US"/>
            </a:p>
          </p:txBody>
        </p:sp>
        <p:sp>
          <p:nvSpPr>
            <p:cNvPr id="249" name="文本框 248"/>
            <p:cNvSpPr txBox="1"/>
            <p:nvPr/>
          </p:nvSpPr>
          <p:spPr>
            <a:xfrm>
              <a:off x="1060773" y="2891362"/>
              <a:ext cx="829698" cy="523220"/>
            </a:xfrm>
            <a:prstGeom prst="rect">
              <a:avLst/>
            </a:prstGeom>
            <a:noFill/>
          </p:spPr>
          <p:txBody>
            <a:bodyPr wrap="square" rtlCol="0">
              <a:spAutoFit/>
            </a:bodyPr>
            <a:lstStyle/>
            <a:p>
              <a:r>
                <a:rPr lang="en-US" altLang="zh-CN" sz="2800" dirty="0">
                  <a:solidFill>
                    <a:schemeClr val="bg1"/>
                  </a:solidFill>
                </a:rPr>
                <a:t>40%</a:t>
              </a:r>
              <a:endParaRPr lang="zh-CN" altLang="en-US" sz="2800" dirty="0">
                <a:solidFill>
                  <a:schemeClr val="bg1"/>
                </a:solidFill>
              </a:endParaRPr>
            </a:p>
          </p:txBody>
        </p:sp>
      </p:grpSp>
      <p:grpSp>
        <p:nvGrpSpPr>
          <p:cNvPr id="4" name="组合 3"/>
          <p:cNvGrpSpPr/>
          <p:nvPr/>
        </p:nvGrpSpPr>
        <p:grpSpPr>
          <a:xfrm>
            <a:off x="844749" y="3912921"/>
            <a:ext cx="1152624" cy="578079"/>
            <a:chOff x="844749" y="3912921"/>
            <a:chExt cx="1152624" cy="578079"/>
          </a:xfrm>
        </p:grpSpPr>
        <p:sp>
          <p:nvSpPr>
            <p:cNvPr id="237" name="Rectangle 133"/>
            <p:cNvSpPr>
              <a:spLocks noChangeArrowheads="1"/>
            </p:cNvSpPr>
            <p:nvPr/>
          </p:nvSpPr>
          <p:spPr bwMode="auto">
            <a:xfrm>
              <a:off x="844749" y="3912921"/>
              <a:ext cx="1152624" cy="578079"/>
            </a:xfrm>
            <a:prstGeom prst="rect">
              <a:avLst/>
            </a:prstGeom>
            <a:solidFill>
              <a:srgbClr val="E14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250" name="文本框 249"/>
            <p:cNvSpPr txBox="1"/>
            <p:nvPr/>
          </p:nvSpPr>
          <p:spPr>
            <a:xfrm>
              <a:off x="1060773" y="3937620"/>
              <a:ext cx="829698" cy="523220"/>
            </a:xfrm>
            <a:prstGeom prst="rect">
              <a:avLst/>
            </a:prstGeom>
            <a:noFill/>
          </p:spPr>
          <p:txBody>
            <a:bodyPr wrap="square" rtlCol="0">
              <a:spAutoFit/>
            </a:bodyPr>
            <a:lstStyle/>
            <a:p>
              <a:r>
                <a:rPr lang="en-US" altLang="zh-CN" sz="2800" dirty="0">
                  <a:solidFill>
                    <a:schemeClr val="bg1"/>
                  </a:solidFill>
                </a:rPr>
                <a:t>30%</a:t>
              </a:r>
              <a:endParaRPr lang="zh-CN" altLang="en-US" sz="2800" dirty="0">
                <a:solidFill>
                  <a:schemeClr val="bg1"/>
                </a:solidFill>
              </a:endParaRPr>
            </a:p>
          </p:txBody>
        </p:sp>
      </p:grpSp>
      <p:sp>
        <p:nvSpPr>
          <p:cNvPr id="251" name="文本框 250"/>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2" presetClass="entr" presetSubtype="1"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up)">
                                      <p:cBhvr>
                                        <p:cTn id="13" dur="500"/>
                                        <p:tgtEl>
                                          <p:spTgt spid="5"/>
                                        </p:tgtEl>
                                      </p:cBhvr>
                                    </p:animEffect>
                                  </p:childTnLst>
                                </p:cTn>
                              </p:par>
                            </p:childTnLst>
                          </p:cTn>
                        </p:par>
                        <p:par>
                          <p:cTn id="14" fill="hold">
                            <p:stCondLst>
                              <p:cond delay="1000"/>
                            </p:stCondLst>
                            <p:childTnLst>
                              <p:par>
                                <p:cTn id="15" presetID="22" presetClass="entr" presetSubtype="8" fill="hold" nodeType="afterEffect">
                                  <p:stCondLst>
                                    <p:cond delay="0"/>
                                  </p:stCondLst>
                                  <p:childTnLst>
                                    <p:set>
                                      <p:cBhvr>
                                        <p:cTn id="16" dur="1" fill="hold">
                                          <p:stCondLst>
                                            <p:cond delay="0"/>
                                          </p:stCondLst>
                                        </p:cTn>
                                        <p:tgtEl>
                                          <p:spTgt spid="189"/>
                                        </p:tgtEl>
                                        <p:attrNameLst>
                                          <p:attrName>style.visibility</p:attrName>
                                        </p:attrNameLst>
                                      </p:cBhvr>
                                      <p:to>
                                        <p:strVal val="visible"/>
                                      </p:to>
                                    </p:set>
                                    <p:animEffect transition="in" filter="wipe(left)">
                                      <p:cBhvr>
                                        <p:cTn id="17" dur="500"/>
                                        <p:tgtEl>
                                          <p:spTgt spid="189"/>
                                        </p:tgtEl>
                                      </p:cBhvr>
                                    </p:animEffect>
                                  </p:childTnLst>
                                </p:cTn>
                              </p:par>
                            </p:childTnLst>
                          </p:cTn>
                        </p:par>
                        <p:par>
                          <p:cTn id="18" fill="hold">
                            <p:stCondLst>
                              <p:cond delay="1500"/>
                            </p:stCondLst>
                            <p:childTnLst>
                              <p:par>
                                <p:cTn id="19" presetID="42" presetClass="entr" presetSubtype="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anim calcmode="lin" valueType="num">
                                      <p:cBhvr>
                                        <p:cTn id="22" dur="500" fill="hold"/>
                                        <p:tgtEl>
                                          <p:spTgt spid="3"/>
                                        </p:tgtEl>
                                        <p:attrNameLst>
                                          <p:attrName>ppt_x</p:attrName>
                                        </p:attrNameLst>
                                      </p:cBhvr>
                                      <p:tavLst>
                                        <p:tav tm="0">
                                          <p:val>
                                            <p:strVal val="#ppt_x"/>
                                          </p:val>
                                        </p:tav>
                                        <p:tav tm="100000">
                                          <p:val>
                                            <p:strVal val="#ppt_x"/>
                                          </p:val>
                                        </p:tav>
                                      </p:tavLst>
                                    </p:anim>
                                    <p:anim calcmode="lin" valueType="num">
                                      <p:cBhvr>
                                        <p:cTn id="23" dur="500" fill="hold"/>
                                        <p:tgtEl>
                                          <p:spTgt spid="3"/>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22" presetClass="entr" presetSubtype="1"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up)">
                                      <p:cBhvr>
                                        <p:cTn id="27" dur="500"/>
                                        <p:tgtEl>
                                          <p:spTgt spid="6"/>
                                        </p:tgtEl>
                                      </p:cBhvr>
                                    </p:animEffect>
                                  </p:childTnLst>
                                </p:cTn>
                              </p:par>
                            </p:childTnLst>
                          </p:cTn>
                        </p:par>
                        <p:par>
                          <p:cTn id="28" fill="hold">
                            <p:stCondLst>
                              <p:cond delay="2500"/>
                            </p:stCondLst>
                            <p:childTnLst>
                              <p:par>
                                <p:cTn id="29" presetID="22" presetClass="entr" presetSubtype="8" fill="hold" nodeType="afterEffect">
                                  <p:stCondLst>
                                    <p:cond delay="0"/>
                                  </p:stCondLst>
                                  <p:childTnLst>
                                    <p:set>
                                      <p:cBhvr>
                                        <p:cTn id="30" dur="1" fill="hold">
                                          <p:stCondLst>
                                            <p:cond delay="0"/>
                                          </p:stCondLst>
                                        </p:cTn>
                                        <p:tgtEl>
                                          <p:spTgt spid="190"/>
                                        </p:tgtEl>
                                        <p:attrNameLst>
                                          <p:attrName>style.visibility</p:attrName>
                                        </p:attrNameLst>
                                      </p:cBhvr>
                                      <p:to>
                                        <p:strVal val="visible"/>
                                      </p:to>
                                    </p:set>
                                    <p:animEffect transition="in" filter="wipe(left)">
                                      <p:cBhvr>
                                        <p:cTn id="31" dur="500"/>
                                        <p:tgtEl>
                                          <p:spTgt spid="190"/>
                                        </p:tgtEl>
                                      </p:cBhvr>
                                    </p:animEffect>
                                  </p:childTnLst>
                                </p:cTn>
                              </p:par>
                            </p:childTnLst>
                          </p:cTn>
                        </p:par>
                        <p:par>
                          <p:cTn id="32" fill="hold">
                            <p:stCondLst>
                              <p:cond delay="3000"/>
                            </p:stCondLst>
                            <p:childTnLst>
                              <p:par>
                                <p:cTn id="33" presetID="42" presetClass="entr" presetSubtype="0" fill="hold" nodeType="after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anim calcmode="lin" valueType="num">
                                      <p:cBhvr>
                                        <p:cTn id="36" dur="500" fill="hold"/>
                                        <p:tgtEl>
                                          <p:spTgt spid="4"/>
                                        </p:tgtEl>
                                        <p:attrNameLst>
                                          <p:attrName>ppt_x</p:attrName>
                                        </p:attrNameLst>
                                      </p:cBhvr>
                                      <p:tavLst>
                                        <p:tav tm="0">
                                          <p:val>
                                            <p:strVal val="#ppt_x"/>
                                          </p:val>
                                        </p:tav>
                                        <p:tav tm="100000">
                                          <p:val>
                                            <p:strVal val="#ppt_x"/>
                                          </p:val>
                                        </p:tav>
                                      </p:tavLst>
                                    </p:anim>
                                    <p:anim calcmode="lin" valueType="num">
                                      <p:cBhvr>
                                        <p:cTn id="37" dur="500" fill="hold"/>
                                        <p:tgtEl>
                                          <p:spTgt spid="4"/>
                                        </p:tgtEl>
                                        <p:attrNameLst>
                                          <p:attrName>ppt_y</p:attrName>
                                        </p:attrNameLst>
                                      </p:cBhvr>
                                      <p:tavLst>
                                        <p:tav tm="0">
                                          <p:val>
                                            <p:strVal val="#ppt_y+.1"/>
                                          </p:val>
                                        </p:tav>
                                        <p:tav tm="100000">
                                          <p:val>
                                            <p:strVal val="#ppt_y"/>
                                          </p:val>
                                        </p:tav>
                                      </p:tavLst>
                                    </p:anim>
                                  </p:childTnLst>
                                </p:cTn>
                              </p:par>
                            </p:childTnLst>
                          </p:cTn>
                        </p:par>
                        <p:par>
                          <p:cTn id="38" fill="hold">
                            <p:stCondLst>
                              <p:cond delay="3500"/>
                            </p:stCondLst>
                            <p:childTnLst>
                              <p:par>
                                <p:cTn id="39" presetID="22" presetClass="entr" presetSubtype="1" fill="hold" nodeType="after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wipe(up)">
                                      <p:cBhvr>
                                        <p:cTn id="41" dur="500"/>
                                        <p:tgtEl>
                                          <p:spTgt spid="7"/>
                                        </p:tgtEl>
                                      </p:cBhvr>
                                    </p:animEffect>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213"/>
                                        </p:tgtEl>
                                        <p:attrNameLst>
                                          <p:attrName>style.visibility</p:attrName>
                                        </p:attrNameLst>
                                      </p:cBhvr>
                                      <p:to>
                                        <p:strVal val="visible"/>
                                      </p:to>
                                    </p:set>
                                    <p:animEffect transition="in" filter="wipe(left)">
                                      <p:cBhvr>
                                        <p:cTn id="45" dur="500"/>
                                        <p:tgtEl>
                                          <p:spTgt spid="2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grpSp>
        <p:nvGrpSpPr>
          <p:cNvPr id="24" name="组合 23"/>
          <p:cNvGrpSpPr/>
          <p:nvPr/>
        </p:nvGrpSpPr>
        <p:grpSpPr>
          <a:xfrm>
            <a:off x="611560" y="2616327"/>
            <a:ext cx="2376264" cy="1537317"/>
            <a:chOff x="971600" y="2149614"/>
            <a:chExt cx="2376264" cy="1537317"/>
          </a:xfrm>
        </p:grpSpPr>
        <p:grpSp>
          <p:nvGrpSpPr>
            <p:cNvPr id="7" name="组合 6"/>
            <p:cNvGrpSpPr/>
            <p:nvPr/>
          </p:nvGrpSpPr>
          <p:grpSpPr>
            <a:xfrm>
              <a:off x="971600" y="2193428"/>
              <a:ext cx="576064" cy="1493503"/>
              <a:chOff x="2051720" y="1951189"/>
              <a:chExt cx="263269" cy="682551"/>
            </a:xfrm>
          </p:grpSpPr>
          <p:sp>
            <p:nvSpPr>
              <p:cNvPr id="5" name="Freeform 9"/>
              <p:cNvSpPr/>
              <p:nvPr/>
            </p:nvSpPr>
            <p:spPr bwMode="auto">
              <a:xfrm>
                <a:off x="2051720" y="2065412"/>
                <a:ext cx="263269" cy="568328"/>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 name="Oval 10"/>
              <p:cNvSpPr>
                <a:spLocks noChangeArrowheads="1"/>
              </p:cNvSpPr>
              <p:nvPr/>
            </p:nvSpPr>
            <p:spPr bwMode="auto">
              <a:xfrm>
                <a:off x="2126940" y="1951189"/>
                <a:ext cx="112829" cy="104472"/>
              </a:xfrm>
              <a:prstGeom prst="ellipse">
                <a:avLst/>
              </a:pr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5" name="文本框 14"/>
            <p:cNvSpPr txBox="1"/>
            <p:nvPr/>
          </p:nvSpPr>
          <p:spPr>
            <a:xfrm>
              <a:off x="1691680" y="2149614"/>
              <a:ext cx="1152128" cy="707886"/>
            </a:xfrm>
            <a:prstGeom prst="rect">
              <a:avLst/>
            </a:prstGeom>
            <a:noFill/>
          </p:spPr>
          <p:txBody>
            <a:bodyPr wrap="square" rtlCol="0">
              <a:spAutoFit/>
            </a:bodyPr>
            <a:lstStyle/>
            <a:p>
              <a:r>
                <a:rPr lang="en-US" altLang="zh-CN" sz="4000" dirty="0">
                  <a:solidFill>
                    <a:srgbClr val="0070C0"/>
                  </a:solidFill>
                </a:rPr>
                <a:t>41%</a:t>
              </a:r>
              <a:endParaRPr lang="zh-CN" altLang="en-US" sz="4000" dirty="0">
                <a:solidFill>
                  <a:srgbClr val="0070C0"/>
                </a:solidFill>
              </a:endParaRPr>
            </a:p>
          </p:txBody>
        </p:sp>
        <p:sp>
          <p:nvSpPr>
            <p:cNvPr id="16" name="矩形 15"/>
            <p:cNvSpPr/>
            <p:nvPr/>
          </p:nvSpPr>
          <p:spPr>
            <a:xfrm>
              <a:off x="1691680" y="2778914"/>
              <a:ext cx="1656184" cy="757130"/>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输入你的文本输入文本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23" name="组合 22"/>
          <p:cNvGrpSpPr/>
          <p:nvPr/>
        </p:nvGrpSpPr>
        <p:grpSpPr>
          <a:xfrm>
            <a:off x="3383868" y="2616327"/>
            <a:ext cx="2376264" cy="1537317"/>
            <a:chOff x="3707904" y="2149614"/>
            <a:chExt cx="2376264" cy="1537317"/>
          </a:xfrm>
        </p:grpSpPr>
        <p:grpSp>
          <p:nvGrpSpPr>
            <p:cNvPr id="9" name="组合 8"/>
            <p:cNvGrpSpPr/>
            <p:nvPr/>
          </p:nvGrpSpPr>
          <p:grpSpPr>
            <a:xfrm>
              <a:off x="3707904" y="2193428"/>
              <a:ext cx="576064" cy="1493503"/>
              <a:chOff x="2051720" y="1951189"/>
              <a:chExt cx="263269" cy="682551"/>
            </a:xfrm>
            <a:solidFill>
              <a:srgbClr val="00B050"/>
            </a:solidFill>
          </p:grpSpPr>
          <p:sp>
            <p:nvSpPr>
              <p:cNvPr id="10" name="Freeform 9"/>
              <p:cNvSpPr/>
              <p:nvPr/>
            </p:nvSpPr>
            <p:spPr bwMode="auto">
              <a:xfrm>
                <a:off x="2051720" y="2065412"/>
                <a:ext cx="263269" cy="568328"/>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Oval 10"/>
              <p:cNvSpPr>
                <a:spLocks noChangeArrowheads="1"/>
              </p:cNvSpPr>
              <p:nvPr/>
            </p:nvSpPr>
            <p:spPr bwMode="auto">
              <a:xfrm>
                <a:off x="2126940" y="1951189"/>
                <a:ext cx="112829" cy="10447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8" name="文本框 17"/>
            <p:cNvSpPr txBox="1"/>
            <p:nvPr/>
          </p:nvSpPr>
          <p:spPr>
            <a:xfrm>
              <a:off x="4427984" y="2149614"/>
              <a:ext cx="1152128" cy="707886"/>
            </a:xfrm>
            <a:prstGeom prst="rect">
              <a:avLst/>
            </a:prstGeom>
            <a:noFill/>
          </p:spPr>
          <p:txBody>
            <a:bodyPr wrap="square" rtlCol="0">
              <a:spAutoFit/>
            </a:bodyPr>
            <a:lstStyle/>
            <a:p>
              <a:r>
                <a:rPr lang="en-US" altLang="zh-CN" sz="4000" dirty="0">
                  <a:solidFill>
                    <a:srgbClr val="0070C0"/>
                  </a:solidFill>
                </a:rPr>
                <a:t>60%</a:t>
              </a:r>
              <a:endParaRPr lang="zh-CN" altLang="en-US" sz="4000" dirty="0">
                <a:solidFill>
                  <a:srgbClr val="0070C0"/>
                </a:solidFill>
              </a:endParaRPr>
            </a:p>
          </p:txBody>
        </p:sp>
        <p:sp>
          <p:nvSpPr>
            <p:cNvPr id="19" name="矩形 18"/>
            <p:cNvSpPr/>
            <p:nvPr/>
          </p:nvSpPr>
          <p:spPr>
            <a:xfrm>
              <a:off x="4427984" y="2778914"/>
              <a:ext cx="1656184" cy="757130"/>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输入你的文本输入文本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22" name="组合 21"/>
          <p:cNvGrpSpPr/>
          <p:nvPr/>
        </p:nvGrpSpPr>
        <p:grpSpPr>
          <a:xfrm>
            <a:off x="6156176" y="2616327"/>
            <a:ext cx="2376264" cy="1537317"/>
            <a:chOff x="6516216" y="2149614"/>
            <a:chExt cx="2376264" cy="1537317"/>
          </a:xfrm>
        </p:grpSpPr>
        <p:grpSp>
          <p:nvGrpSpPr>
            <p:cNvPr id="12" name="组合 11"/>
            <p:cNvGrpSpPr/>
            <p:nvPr/>
          </p:nvGrpSpPr>
          <p:grpSpPr>
            <a:xfrm>
              <a:off x="6516216" y="2193428"/>
              <a:ext cx="576064" cy="1493503"/>
              <a:chOff x="2051720" y="1951189"/>
              <a:chExt cx="263269" cy="682551"/>
            </a:xfrm>
            <a:solidFill>
              <a:schemeClr val="accent6">
                <a:lumMod val="75000"/>
              </a:schemeClr>
            </a:solidFill>
          </p:grpSpPr>
          <p:sp>
            <p:nvSpPr>
              <p:cNvPr id="13" name="Freeform 9"/>
              <p:cNvSpPr/>
              <p:nvPr/>
            </p:nvSpPr>
            <p:spPr bwMode="auto">
              <a:xfrm>
                <a:off x="2051720" y="2065412"/>
                <a:ext cx="263269" cy="568328"/>
              </a:xfrm>
              <a:custGeom>
                <a:avLst/>
                <a:gdLst>
                  <a:gd name="T0" fmla="*/ 21 w 28"/>
                  <a:gd name="T1" fmla="*/ 0 h 60"/>
                  <a:gd name="T2" fmla="*/ 7 w 28"/>
                  <a:gd name="T3" fmla="*/ 0 h 60"/>
                  <a:gd name="T4" fmla="*/ 0 w 28"/>
                  <a:gd name="T5" fmla="*/ 6 h 60"/>
                  <a:gd name="T6" fmla="*/ 0 w 28"/>
                  <a:gd name="T7" fmla="*/ 7 h 60"/>
                  <a:gd name="T8" fmla="*/ 0 w 28"/>
                  <a:gd name="T9" fmla="*/ 7 h 60"/>
                  <a:gd name="T10" fmla="*/ 0 w 28"/>
                  <a:gd name="T11" fmla="*/ 27 h 60"/>
                  <a:gd name="T12" fmla="*/ 2 w 28"/>
                  <a:gd name="T13" fmla="*/ 30 h 60"/>
                  <a:gd name="T14" fmla="*/ 5 w 28"/>
                  <a:gd name="T15" fmla="*/ 27 h 60"/>
                  <a:gd name="T16" fmla="*/ 5 w 28"/>
                  <a:gd name="T17" fmla="*/ 10 h 60"/>
                  <a:gd name="T18" fmla="*/ 7 w 28"/>
                  <a:gd name="T19" fmla="*/ 10 h 60"/>
                  <a:gd name="T20" fmla="*/ 7 w 28"/>
                  <a:gd name="T21" fmla="*/ 27 h 60"/>
                  <a:gd name="T22" fmla="*/ 7 w 28"/>
                  <a:gd name="T23" fmla="*/ 27 h 60"/>
                  <a:gd name="T24" fmla="*/ 7 w 28"/>
                  <a:gd name="T25" fmla="*/ 57 h 60"/>
                  <a:gd name="T26" fmla="*/ 10 w 28"/>
                  <a:gd name="T27" fmla="*/ 60 h 60"/>
                  <a:gd name="T28" fmla="*/ 13 w 28"/>
                  <a:gd name="T29" fmla="*/ 57 h 60"/>
                  <a:gd name="T30" fmla="*/ 13 w 28"/>
                  <a:gd name="T31" fmla="*/ 31 h 60"/>
                  <a:gd name="T32" fmla="*/ 15 w 28"/>
                  <a:gd name="T33" fmla="*/ 31 h 60"/>
                  <a:gd name="T34" fmla="*/ 15 w 28"/>
                  <a:gd name="T35" fmla="*/ 57 h 60"/>
                  <a:gd name="T36" fmla="*/ 18 w 28"/>
                  <a:gd name="T37" fmla="*/ 60 h 60"/>
                  <a:gd name="T38" fmla="*/ 21 w 28"/>
                  <a:gd name="T39" fmla="*/ 57 h 60"/>
                  <a:gd name="T40" fmla="*/ 21 w 28"/>
                  <a:gd name="T41" fmla="*/ 27 h 60"/>
                  <a:gd name="T42" fmla="*/ 21 w 28"/>
                  <a:gd name="T43" fmla="*/ 27 h 60"/>
                  <a:gd name="T44" fmla="*/ 21 w 28"/>
                  <a:gd name="T45" fmla="*/ 10 h 60"/>
                  <a:gd name="T46" fmla="*/ 23 w 28"/>
                  <a:gd name="T47" fmla="*/ 10 h 60"/>
                  <a:gd name="T48" fmla="*/ 23 w 28"/>
                  <a:gd name="T49" fmla="*/ 27 h 60"/>
                  <a:gd name="T50" fmla="*/ 26 w 28"/>
                  <a:gd name="T51" fmla="*/ 30 h 60"/>
                  <a:gd name="T52" fmla="*/ 28 w 28"/>
                  <a:gd name="T53" fmla="*/ 27 h 60"/>
                  <a:gd name="T54" fmla="*/ 28 w 28"/>
                  <a:gd name="T55" fmla="*/ 7 h 60"/>
                  <a:gd name="T56" fmla="*/ 28 w 28"/>
                  <a:gd name="T57" fmla="*/ 7 h 60"/>
                  <a:gd name="T58" fmla="*/ 28 w 28"/>
                  <a:gd name="T59" fmla="*/ 6 h 60"/>
                  <a:gd name="T60" fmla="*/ 21 w 28"/>
                  <a:gd name="T6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 h="60">
                    <a:moveTo>
                      <a:pt x="21" y="0"/>
                    </a:moveTo>
                    <a:cubicBezTo>
                      <a:pt x="7" y="0"/>
                      <a:pt x="7" y="0"/>
                      <a:pt x="7" y="0"/>
                    </a:cubicBezTo>
                    <a:cubicBezTo>
                      <a:pt x="2" y="1"/>
                      <a:pt x="0" y="5"/>
                      <a:pt x="0" y="6"/>
                    </a:cubicBezTo>
                    <a:cubicBezTo>
                      <a:pt x="0" y="7"/>
                      <a:pt x="0" y="7"/>
                      <a:pt x="0" y="7"/>
                    </a:cubicBezTo>
                    <a:cubicBezTo>
                      <a:pt x="0" y="7"/>
                      <a:pt x="0" y="7"/>
                      <a:pt x="0" y="7"/>
                    </a:cubicBezTo>
                    <a:cubicBezTo>
                      <a:pt x="0" y="27"/>
                      <a:pt x="0" y="27"/>
                      <a:pt x="0" y="27"/>
                    </a:cubicBezTo>
                    <a:cubicBezTo>
                      <a:pt x="0" y="29"/>
                      <a:pt x="1" y="30"/>
                      <a:pt x="2" y="30"/>
                    </a:cubicBezTo>
                    <a:cubicBezTo>
                      <a:pt x="4" y="30"/>
                      <a:pt x="5" y="29"/>
                      <a:pt x="5" y="27"/>
                    </a:cubicBezTo>
                    <a:cubicBezTo>
                      <a:pt x="5" y="10"/>
                      <a:pt x="5" y="10"/>
                      <a:pt x="5" y="10"/>
                    </a:cubicBezTo>
                    <a:cubicBezTo>
                      <a:pt x="7" y="10"/>
                      <a:pt x="7" y="10"/>
                      <a:pt x="7" y="10"/>
                    </a:cubicBezTo>
                    <a:cubicBezTo>
                      <a:pt x="7" y="27"/>
                      <a:pt x="7" y="27"/>
                      <a:pt x="7" y="27"/>
                    </a:cubicBezTo>
                    <a:cubicBezTo>
                      <a:pt x="7" y="27"/>
                      <a:pt x="7" y="27"/>
                      <a:pt x="7" y="27"/>
                    </a:cubicBezTo>
                    <a:cubicBezTo>
                      <a:pt x="7" y="57"/>
                      <a:pt x="7" y="57"/>
                      <a:pt x="7" y="57"/>
                    </a:cubicBezTo>
                    <a:cubicBezTo>
                      <a:pt x="7" y="59"/>
                      <a:pt x="8" y="60"/>
                      <a:pt x="10" y="60"/>
                    </a:cubicBezTo>
                    <a:cubicBezTo>
                      <a:pt x="12" y="60"/>
                      <a:pt x="13" y="59"/>
                      <a:pt x="13" y="57"/>
                    </a:cubicBezTo>
                    <a:cubicBezTo>
                      <a:pt x="13" y="31"/>
                      <a:pt x="13" y="31"/>
                      <a:pt x="13" y="31"/>
                    </a:cubicBezTo>
                    <a:cubicBezTo>
                      <a:pt x="15" y="31"/>
                      <a:pt x="15" y="31"/>
                      <a:pt x="15" y="31"/>
                    </a:cubicBezTo>
                    <a:cubicBezTo>
                      <a:pt x="15" y="57"/>
                      <a:pt x="15" y="57"/>
                      <a:pt x="15" y="57"/>
                    </a:cubicBezTo>
                    <a:cubicBezTo>
                      <a:pt x="15" y="59"/>
                      <a:pt x="16" y="60"/>
                      <a:pt x="18" y="60"/>
                    </a:cubicBezTo>
                    <a:cubicBezTo>
                      <a:pt x="20" y="60"/>
                      <a:pt x="21" y="59"/>
                      <a:pt x="21" y="57"/>
                    </a:cubicBezTo>
                    <a:cubicBezTo>
                      <a:pt x="21" y="27"/>
                      <a:pt x="21" y="27"/>
                      <a:pt x="21" y="27"/>
                    </a:cubicBezTo>
                    <a:cubicBezTo>
                      <a:pt x="21" y="27"/>
                      <a:pt x="21" y="27"/>
                      <a:pt x="21" y="27"/>
                    </a:cubicBezTo>
                    <a:cubicBezTo>
                      <a:pt x="21" y="10"/>
                      <a:pt x="21" y="10"/>
                      <a:pt x="21" y="10"/>
                    </a:cubicBezTo>
                    <a:cubicBezTo>
                      <a:pt x="23" y="10"/>
                      <a:pt x="23" y="10"/>
                      <a:pt x="23" y="10"/>
                    </a:cubicBezTo>
                    <a:cubicBezTo>
                      <a:pt x="23" y="27"/>
                      <a:pt x="23" y="27"/>
                      <a:pt x="23" y="27"/>
                    </a:cubicBezTo>
                    <a:cubicBezTo>
                      <a:pt x="23" y="29"/>
                      <a:pt x="24" y="30"/>
                      <a:pt x="26" y="30"/>
                    </a:cubicBezTo>
                    <a:cubicBezTo>
                      <a:pt x="27" y="30"/>
                      <a:pt x="28" y="29"/>
                      <a:pt x="28" y="27"/>
                    </a:cubicBezTo>
                    <a:cubicBezTo>
                      <a:pt x="28" y="7"/>
                      <a:pt x="28" y="7"/>
                      <a:pt x="28" y="7"/>
                    </a:cubicBezTo>
                    <a:cubicBezTo>
                      <a:pt x="28" y="7"/>
                      <a:pt x="28" y="7"/>
                      <a:pt x="28" y="7"/>
                    </a:cubicBezTo>
                    <a:cubicBezTo>
                      <a:pt x="28" y="6"/>
                      <a:pt x="28" y="6"/>
                      <a:pt x="28" y="6"/>
                    </a:cubicBezTo>
                    <a:cubicBezTo>
                      <a:pt x="28" y="4"/>
                      <a:pt x="26" y="0"/>
                      <a:pt x="2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Oval 10"/>
              <p:cNvSpPr>
                <a:spLocks noChangeArrowheads="1"/>
              </p:cNvSpPr>
              <p:nvPr/>
            </p:nvSpPr>
            <p:spPr bwMode="auto">
              <a:xfrm>
                <a:off x="2126940" y="1951189"/>
                <a:ext cx="112829" cy="10447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20" name="文本框 19"/>
            <p:cNvSpPr txBox="1"/>
            <p:nvPr/>
          </p:nvSpPr>
          <p:spPr>
            <a:xfrm>
              <a:off x="7236296" y="2149614"/>
              <a:ext cx="1152128" cy="707886"/>
            </a:xfrm>
            <a:prstGeom prst="rect">
              <a:avLst/>
            </a:prstGeom>
            <a:noFill/>
          </p:spPr>
          <p:txBody>
            <a:bodyPr wrap="square" rtlCol="0">
              <a:spAutoFit/>
            </a:bodyPr>
            <a:lstStyle/>
            <a:p>
              <a:r>
                <a:rPr lang="en-US" altLang="zh-CN" sz="4000" dirty="0">
                  <a:solidFill>
                    <a:srgbClr val="0070C0"/>
                  </a:solidFill>
                </a:rPr>
                <a:t>38%</a:t>
              </a:r>
              <a:endParaRPr lang="zh-CN" altLang="en-US" sz="4000" dirty="0">
                <a:solidFill>
                  <a:srgbClr val="0070C0"/>
                </a:solidFill>
              </a:endParaRPr>
            </a:p>
          </p:txBody>
        </p:sp>
        <p:sp>
          <p:nvSpPr>
            <p:cNvPr id="21" name="矩形 20"/>
            <p:cNvSpPr/>
            <p:nvPr/>
          </p:nvSpPr>
          <p:spPr>
            <a:xfrm>
              <a:off x="7236296" y="2778914"/>
              <a:ext cx="1656184" cy="757130"/>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输入你的文本输入文本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2" name="组合 1"/>
          <p:cNvGrpSpPr/>
          <p:nvPr/>
        </p:nvGrpSpPr>
        <p:grpSpPr>
          <a:xfrm>
            <a:off x="3137970" y="1304684"/>
            <a:ext cx="3444757" cy="688720"/>
            <a:chOff x="3137970" y="1304684"/>
            <a:chExt cx="3444757" cy="688720"/>
          </a:xfrm>
        </p:grpSpPr>
        <p:sp>
          <p:nvSpPr>
            <p:cNvPr id="25" name="文本框 24"/>
            <p:cNvSpPr txBox="1"/>
            <p:nvPr/>
          </p:nvSpPr>
          <p:spPr>
            <a:xfrm>
              <a:off x="3137970" y="1304684"/>
              <a:ext cx="3084717" cy="461665"/>
            </a:xfrm>
            <a:prstGeom prst="rect">
              <a:avLst/>
            </a:prstGeom>
            <a:noFill/>
          </p:spPr>
          <p:txBody>
            <a:bodyPr wrap="square" rtlCol="0">
              <a:spAutoFit/>
            </a:bodyPr>
            <a:lstStyle/>
            <a:p>
              <a:r>
                <a:rPr lang="zh-CN" altLang="en-US" sz="24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sp>
          <p:nvSpPr>
            <p:cNvPr id="26" name="文本框 25"/>
            <p:cNvSpPr txBox="1"/>
            <p:nvPr/>
          </p:nvSpPr>
          <p:spPr>
            <a:xfrm>
              <a:off x="3498010" y="1654850"/>
              <a:ext cx="3084717" cy="338554"/>
            </a:xfrm>
            <a:prstGeom prst="rect">
              <a:avLst/>
            </a:prstGeom>
            <a:noFill/>
          </p:spPr>
          <p:txBody>
            <a:bodyPr wrap="square" rtlCol="0">
              <a:spAutoFit/>
            </a:bodyPr>
            <a:lstStyle/>
            <a:p>
              <a:r>
                <a:rPr lang="zh-CN" altLang="en-US" sz="16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20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fill="hold"/>
                                        <p:tgtEl>
                                          <p:spTgt spid="22"/>
                                        </p:tgtEl>
                                        <p:attrNameLst>
                                          <p:attrName>ppt_x</p:attrName>
                                        </p:attrNameLst>
                                      </p:cBhvr>
                                      <p:tavLst>
                                        <p:tav tm="0">
                                          <p:val>
                                            <p:strVal val="#ppt_x"/>
                                          </p:val>
                                        </p:tav>
                                        <p:tav tm="100000">
                                          <p:val>
                                            <p:strVal val="#ppt_x"/>
                                          </p:val>
                                        </p:tav>
                                      </p:tavLst>
                                    </p:anim>
                                    <p:anim calcmode="lin" valueType="num">
                                      <p:cBhvr additive="base">
                                        <p:cTn id="20"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3" cstate="print">
            <a:extLst>
              <a:ext uri="{28A0092B-C50C-407E-A947-70E740481C1C}">
                <a14:useLocalDpi xmlns:a14="http://schemas.microsoft.com/office/drawing/2010/main" val="0"/>
              </a:ext>
            </a:extLst>
          </a:blip>
          <a:srcRect b="7067"/>
          <a:stretch>
            <a:fillRect/>
          </a:stretch>
        </p:blipFill>
        <p:spPr>
          <a:xfrm>
            <a:off x="0" y="0"/>
            <a:ext cx="9243157" cy="5737820"/>
          </a:xfrm>
          <a:prstGeom prst="rect">
            <a:avLst/>
          </a:prstGeom>
        </p:spPr>
      </p:pic>
      <p:sp>
        <p:nvSpPr>
          <p:cNvPr id="5" name="矩形 4"/>
          <p:cNvSpPr/>
          <p:nvPr/>
        </p:nvSpPr>
        <p:spPr>
          <a:xfrm>
            <a:off x="0" y="3649588"/>
            <a:ext cx="9243158" cy="28803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4"/>
          <p:cNvSpPr/>
          <p:nvPr/>
        </p:nvSpPr>
        <p:spPr>
          <a:xfrm>
            <a:off x="2555777" y="2785492"/>
            <a:ext cx="6687380" cy="936104"/>
          </a:xfrm>
          <a:custGeom>
            <a:avLst/>
            <a:gdLst>
              <a:gd name="connsiteX0" fmla="*/ 0 w 6687380"/>
              <a:gd name="connsiteY0" fmla="*/ 0 h 936104"/>
              <a:gd name="connsiteX1" fmla="*/ 6687380 w 6687380"/>
              <a:gd name="connsiteY1" fmla="*/ 0 h 936104"/>
              <a:gd name="connsiteX2" fmla="*/ 6687380 w 6687380"/>
              <a:gd name="connsiteY2" fmla="*/ 936104 h 936104"/>
              <a:gd name="connsiteX3" fmla="*/ 0 w 6687380"/>
              <a:gd name="connsiteY3" fmla="*/ 936104 h 936104"/>
              <a:gd name="connsiteX4" fmla="*/ 0 w 6687380"/>
              <a:gd name="connsiteY4" fmla="*/ 0 h 936104"/>
              <a:gd name="connsiteX0-1" fmla="*/ 309282 w 6687380"/>
              <a:gd name="connsiteY0-2" fmla="*/ 0 h 936104"/>
              <a:gd name="connsiteX1-3" fmla="*/ 6687380 w 6687380"/>
              <a:gd name="connsiteY1-4" fmla="*/ 0 h 936104"/>
              <a:gd name="connsiteX2-5" fmla="*/ 6687380 w 6687380"/>
              <a:gd name="connsiteY2-6" fmla="*/ 936104 h 936104"/>
              <a:gd name="connsiteX3-7" fmla="*/ 0 w 6687380"/>
              <a:gd name="connsiteY3-8" fmla="*/ 936104 h 936104"/>
              <a:gd name="connsiteX4-9" fmla="*/ 309282 w 6687380"/>
              <a:gd name="connsiteY4-10" fmla="*/ 0 h 93610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687380" h="936104">
                <a:moveTo>
                  <a:pt x="309282" y="0"/>
                </a:moveTo>
                <a:lnTo>
                  <a:pt x="6687380" y="0"/>
                </a:lnTo>
                <a:lnTo>
                  <a:pt x="6687380" y="936104"/>
                </a:lnTo>
                <a:lnTo>
                  <a:pt x="0" y="936104"/>
                </a:lnTo>
                <a:lnTo>
                  <a:pt x="309282" y="0"/>
                </a:lnTo>
                <a:close/>
              </a:path>
            </a:pathLst>
          </a:custGeom>
          <a:solidFill>
            <a:srgbClr val="00B0F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3707904" y="2857500"/>
            <a:ext cx="4973233" cy="769441"/>
          </a:xfrm>
          <a:prstGeom prst="rect">
            <a:avLst/>
          </a:prstGeom>
          <a:noFill/>
        </p:spPr>
        <p:txBody>
          <a:bodyPr wrap="square" rtlCol="0">
            <a:spAutoFit/>
          </a:bodyPr>
          <a:lstStyle/>
          <a:p>
            <a:r>
              <a:rPr lang="en-US" altLang="zh-CN" sz="4400" dirty="0">
                <a:solidFill>
                  <a:schemeClr val="bg1"/>
                </a:solidFill>
                <a:latin typeface="方正大黑简体" panose="02010601030101010101" pitchFamily="2" charset="-122"/>
                <a:ea typeface="方正大黑简体" panose="02010601030101010101" pitchFamily="2" charset="-122"/>
              </a:rPr>
              <a:t>THANK YOU!</a:t>
            </a:r>
            <a:endParaRPr lang="zh-CN" altLang="en-US" sz="4400" dirty="0">
              <a:solidFill>
                <a:schemeClr val="bg1"/>
              </a:solidFill>
              <a:latin typeface="方正大黑简体" panose="02010601030101010101" pitchFamily="2" charset="-122"/>
              <a:ea typeface="方正大黑简体" panose="02010601030101010101" pitchFamily="2" charset="-122"/>
            </a:endParaRPr>
          </a:p>
        </p:txBody>
      </p:sp>
      <p:sp>
        <p:nvSpPr>
          <p:cNvPr id="8" name="文本框 7"/>
          <p:cNvSpPr txBox="1"/>
          <p:nvPr/>
        </p:nvSpPr>
        <p:spPr>
          <a:xfrm>
            <a:off x="467544" y="193204"/>
            <a:ext cx="1944217" cy="523220"/>
          </a:xfrm>
          <a:prstGeom prst="rect">
            <a:avLst/>
          </a:prstGeom>
          <a:noFill/>
        </p:spPr>
        <p:txBody>
          <a:bodyPr wrap="square" rtlCol="0">
            <a:spAutoFit/>
          </a:bodyPr>
          <a:lstStyle/>
          <a:p>
            <a:r>
              <a:rPr lang="en-US" altLang="zh-CN" sz="2800" dirty="0"/>
              <a:t>LOGO</a:t>
            </a:r>
            <a:endParaRPr lang="zh-CN" altLang="en-US" sz="28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sp>
        <p:nvSpPr>
          <p:cNvPr id="9" name="矩形 8"/>
          <p:cNvSpPr/>
          <p:nvPr/>
        </p:nvSpPr>
        <p:spPr>
          <a:xfrm>
            <a:off x="1475656" y="2353444"/>
            <a:ext cx="6084168" cy="122413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1484254" y="3649588"/>
            <a:ext cx="6084168" cy="7200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6191672" y="2641476"/>
            <a:ext cx="1296144" cy="707886"/>
          </a:xfrm>
          <a:prstGeom prst="rect">
            <a:avLst/>
          </a:prstGeom>
          <a:noFill/>
        </p:spPr>
        <p:txBody>
          <a:bodyPr wrap="square" rtlCol="0">
            <a:spAutoFit/>
          </a:bodyPr>
          <a:lstStyle/>
          <a:p>
            <a:r>
              <a:rPr lang="en-US" altLang="zh-CN" sz="4000" dirty="0">
                <a:solidFill>
                  <a:schemeClr val="bg1"/>
                </a:solidFill>
                <a:latin typeface="方正兰亭超细黑简体" panose="02000000000000000000" pitchFamily="2" charset="-122"/>
                <a:ea typeface="方正兰亭超细黑简体" panose="02000000000000000000" pitchFamily="2" charset="-122"/>
              </a:rPr>
              <a:t>[01]</a:t>
            </a:r>
            <a:endParaRPr lang="zh-CN" altLang="en-US" sz="4000" dirty="0">
              <a:solidFill>
                <a:schemeClr val="bg1"/>
              </a:solidFill>
              <a:latin typeface="方正兰亭超细黑简体" panose="02000000000000000000" pitchFamily="2" charset="-122"/>
              <a:ea typeface="方正兰亭超细黑简体" panose="02000000000000000000" pitchFamily="2" charset="-122"/>
            </a:endParaRPr>
          </a:p>
        </p:txBody>
      </p:sp>
      <p:sp>
        <p:nvSpPr>
          <p:cNvPr id="12" name="文本框 11"/>
          <p:cNvSpPr txBox="1"/>
          <p:nvPr/>
        </p:nvSpPr>
        <p:spPr>
          <a:xfrm>
            <a:off x="6220700" y="2501236"/>
            <a:ext cx="1012793" cy="276999"/>
          </a:xfrm>
          <a:prstGeom prst="rect">
            <a:avLst/>
          </a:prstGeom>
          <a:noFill/>
        </p:spPr>
        <p:txBody>
          <a:bodyPr wrap="square" rtlCol="0">
            <a:spAutoFit/>
          </a:bodyPr>
          <a:lstStyle/>
          <a:p>
            <a:r>
              <a:rPr lang="en-US" altLang="zh-CN" sz="1200" dirty="0">
                <a:solidFill>
                  <a:schemeClr val="bg1"/>
                </a:solidFill>
              </a:rPr>
              <a:t>part</a:t>
            </a:r>
            <a:endParaRPr lang="zh-CN" altLang="en-US" sz="1200" dirty="0">
              <a:solidFill>
                <a:schemeClr val="bg1"/>
              </a:solidFill>
            </a:endParaRPr>
          </a:p>
        </p:txBody>
      </p:sp>
      <p:sp>
        <p:nvSpPr>
          <p:cNvPr id="13" name="文本框 12"/>
          <p:cNvSpPr txBox="1"/>
          <p:nvPr/>
        </p:nvSpPr>
        <p:spPr>
          <a:xfrm>
            <a:off x="5898959" y="3217540"/>
            <a:ext cx="4973233" cy="338554"/>
          </a:xfrm>
          <a:prstGeom prst="rect">
            <a:avLst/>
          </a:prstGeom>
          <a:noFill/>
        </p:spPr>
        <p:txBody>
          <a:bodyPr wrap="square" rtlCol="0">
            <a:spAutoFit/>
          </a:bodyPr>
          <a:lstStyle/>
          <a:p>
            <a:r>
              <a:rPr lang="zh-CN" altLang="en-US" sz="1600" dirty="0">
                <a:solidFill>
                  <a:schemeClr val="bg1"/>
                </a:solidFill>
                <a:latin typeface="方正兰亭超细黑简体" panose="02000000000000000000" pitchFamily="2" charset="-122"/>
                <a:ea typeface="方正兰亭超细黑简体" panose="02000000000000000000" pitchFamily="2" charset="-122"/>
              </a:rPr>
              <a:t>点击输入文本</a:t>
            </a:r>
          </a:p>
        </p:txBody>
      </p:sp>
      <p:pic>
        <p:nvPicPr>
          <p:cNvPr id="15" name="图片 14"/>
          <p:cNvPicPr>
            <a:picLocks noChangeAspect="1"/>
          </p:cNvPicPr>
          <p:nvPr/>
        </p:nvPicPr>
        <p:blipFill rotWithShape="1">
          <a:blip r:embed="rId2" cstate="print">
            <a:extLst>
              <a:ext uri="{28A0092B-C50C-407E-A947-70E740481C1C}">
                <a14:useLocalDpi xmlns:a14="http://schemas.microsoft.com/office/drawing/2010/main" val="0"/>
              </a:ext>
            </a:extLst>
          </a:blip>
          <a:srcRect b="7067"/>
          <a:stretch>
            <a:fillRect/>
          </a:stretch>
        </p:blipFill>
        <p:spPr>
          <a:xfrm>
            <a:off x="2051720" y="1804231"/>
            <a:ext cx="2243318" cy="1392571"/>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grpSp>
        <p:nvGrpSpPr>
          <p:cNvPr id="35" name="组合 34"/>
          <p:cNvGrpSpPr/>
          <p:nvPr/>
        </p:nvGrpSpPr>
        <p:grpSpPr>
          <a:xfrm>
            <a:off x="978362" y="2038735"/>
            <a:ext cx="1479104" cy="2402941"/>
            <a:chOff x="1220688" y="1708371"/>
            <a:chExt cx="1479104" cy="2402941"/>
          </a:xfrm>
        </p:grpSpPr>
        <p:sp>
          <p:nvSpPr>
            <p:cNvPr id="22" name="矩形 21"/>
            <p:cNvSpPr/>
            <p:nvPr/>
          </p:nvSpPr>
          <p:spPr>
            <a:xfrm>
              <a:off x="1220688" y="1708371"/>
              <a:ext cx="1431894" cy="122113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nvGrpSpPr>
            <p:cNvPr id="19" name="Group 42"/>
            <p:cNvGrpSpPr/>
            <p:nvPr/>
          </p:nvGrpSpPr>
          <p:grpSpPr>
            <a:xfrm>
              <a:off x="1570343" y="1918631"/>
              <a:ext cx="724879" cy="724698"/>
              <a:chOff x="1589251" y="3965601"/>
              <a:chExt cx="1397902" cy="1438462"/>
            </a:xfrm>
            <a:solidFill>
              <a:schemeClr val="bg1"/>
            </a:solidFill>
          </p:grpSpPr>
          <p:sp>
            <p:nvSpPr>
              <p:cNvPr id="20" name="Freeform 43"/>
              <p:cNvSpPr/>
              <p:nvPr/>
            </p:nvSpPr>
            <p:spPr bwMode="auto">
              <a:xfrm>
                <a:off x="1589251" y="4048125"/>
                <a:ext cx="582451" cy="1355938"/>
              </a:xfrm>
              <a:custGeom>
                <a:avLst/>
                <a:gdLst/>
                <a:ahLst/>
                <a:cxnLst/>
                <a:rect l="l" t="t" r="r" b="b"/>
                <a:pathLst>
                  <a:path w="582451" h="1355938">
                    <a:moveTo>
                      <a:pt x="576679" y="683979"/>
                    </a:moveTo>
                    <a:lnTo>
                      <a:pt x="582451" y="684242"/>
                    </a:lnTo>
                    <a:lnTo>
                      <a:pt x="582451" y="697706"/>
                    </a:lnTo>
                    <a:cubicBezTo>
                      <a:pt x="580793" y="693546"/>
                      <a:pt x="578854" y="689055"/>
                      <a:pt x="576679" y="683979"/>
                    </a:cubicBezTo>
                    <a:close/>
                    <a:moveTo>
                      <a:pt x="303960" y="305613"/>
                    </a:moveTo>
                    <a:lnTo>
                      <a:pt x="38552" y="323712"/>
                    </a:lnTo>
                    <a:lnTo>
                      <a:pt x="39872" y="343064"/>
                    </a:lnTo>
                    <a:lnTo>
                      <a:pt x="305280" y="324965"/>
                    </a:lnTo>
                    <a:close/>
                    <a:moveTo>
                      <a:pt x="582451" y="260496"/>
                    </a:moveTo>
                    <a:lnTo>
                      <a:pt x="582451" y="281121"/>
                    </a:lnTo>
                    <a:lnTo>
                      <a:pt x="578079" y="281419"/>
                    </a:lnTo>
                    <a:lnTo>
                      <a:pt x="576680" y="260889"/>
                    </a:lnTo>
                    <a:close/>
                    <a:moveTo>
                      <a:pt x="300592" y="254674"/>
                    </a:moveTo>
                    <a:lnTo>
                      <a:pt x="35184" y="272773"/>
                    </a:lnTo>
                    <a:lnTo>
                      <a:pt x="36504" y="292124"/>
                    </a:lnTo>
                    <a:lnTo>
                      <a:pt x="301913" y="274026"/>
                    </a:lnTo>
                    <a:close/>
                    <a:moveTo>
                      <a:pt x="582451" y="206213"/>
                    </a:moveTo>
                    <a:lnTo>
                      <a:pt x="582451" y="226838"/>
                    </a:lnTo>
                    <a:lnTo>
                      <a:pt x="574506" y="227380"/>
                    </a:lnTo>
                    <a:lnTo>
                      <a:pt x="573107" y="206850"/>
                    </a:lnTo>
                    <a:close/>
                    <a:moveTo>
                      <a:pt x="300592" y="203753"/>
                    </a:moveTo>
                    <a:lnTo>
                      <a:pt x="35184" y="221851"/>
                    </a:lnTo>
                    <a:lnTo>
                      <a:pt x="36504" y="241203"/>
                    </a:lnTo>
                    <a:lnTo>
                      <a:pt x="301913" y="223104"/>
                    </a:lnTo>
                    <a:close/>
                    <a:moveTo>
                      <a:pt x="582451" y="152192"/>
                    </a:moveTo>
                    <a:lnTo>
                      <a:pt x="582451" y="172817"/>
                    </a:lnTo>
                    <a:lnTo>
                      <a:pt x="574506" y="173359"/>
                    </a:lnTo>
                    <a:lnTo>
                      <a:pt x="573107" y="152829"/>
                    </a:lnTo>
                    <a:close/>
                    <a:moveTo>
                      <a:pt x="360390" y="12"/>
                    </a:moveTo>
                    <a:cubicBezTo>
                      <a:pt x="368078" y="-21"/>
                      <a:pt x="375636" y="0"/>
                      <a:pt x="383030" y="279"/>
                    </a:cubicBezTo>
                    <a:lnTo>
                      <a:pt x="381491" y="877"/>
                    </a:lnTo>
                    <a:cubicBezTo>
                      <a:pt x="372606" y="16914"/>
                      <a:pt x="357660" y="11935"/>
                      <a:pt x="354837" y="60599"/>
                    </a:cubicBezTo>
                    <a:cubicBezTo>
                      <a:pt x="356022" y="172303"/>
                      <a:pt x="351876" y="288984"/>
                      <a:pt x="353061" y="400688"/>
                    </a:cubicBezTo>
                    <a:cubicBezTo>
                      <a:pt x="354245" y="488061"/>
                      <a:pt x="355430" y="575433"/>
                      <a:pt x="356615" y="662806"/>
                    </a:cubicBezTo>
                    <a:lnTo>
                      <a:pt x="328186" y="719211"/>
                    </a:lnTo>
                    <a:lnTo>
                      <a:pt x="111405" y="725846"/>
                    </a:lnTo>
                    <a:lnTo>
                      <a:pt x="38551" y="722529"/>
                    </a:lnTo>
                    <a:cubicBezTo>
                      <a:pt x="52766" y="755708"/>
                      <a:pt x="56320" y="762344"/>
                      <a:pt x="59874" y="812113"/>
                    </a:cubicBezTo>
                    <a:cubicBezTo>
                      <a:pt x="82381" y="796076"/>
                      <a:pt x="120414" y="766843"/>
                      <a:pt x="142920" y="762418"/>
                    </a:cubicBezTo>
                    <a:cubicBezTo>
                      <a:pt x="190178" y="744169"/>
                      <a:pt x="254741" y="750732"/>
                      <a:pt x="317523" y="759026"/>
                    </a:cubicBezTo>
                    <a:cubicBezTo>
                      <a:pt x="313378" y="771746"/>
                      <a:pt x="304057" y="779487"/>
                      <a:pt x="305085" y="797183"/>
                    </a:cubicBezTo>
                    <a:cubicBezTo>
                      <a:pt x="303308" y="953126"/>
                      <a:pt x="303308" y="1110728"/>
                      <a:pt x="305085" y="1268331"/>
                    </a:cubicBezTo>
                    <a:cubicBezTo>
                      <a:pt x="306270" y="1282708"/>
                      <a:pt x="302123" y="1300404"/>
                      <a:pt x="310416" y="1316440"/>
                    </a:cubicBezTo>
                    <a:cubicBezTo>
                      <a:pt x="315747" y="1328606"/>
                      <a:pt x="326407" y="1337454"/>
                      <a:pt x="342401" y="1342984"/>
                    </a:cubicBezTo>
                    <a:lnTo>
                      <a:pt x="456120" y="1341325"/>
                    </a:lnTo>
                    <a:cubicBezTo>
                      <a:pt x="454935" y="1156626"/>
                      <a:pt x="453752" y="970268"/>
                      <a:pt x="449013" y="785569"/>
                    </a:cubicBezTo>
                    <a:cubicBezTo>
                      <a:pt x="437604" y="750731"/>
                      <a:pt x="415844" y="719211"/>
                      <a:pt x="399260" y="686032"/>
                    </a:cubicBezTo>
                    <a:lnTo>
                      <a:pt x="385045" y="649534"/>
                    </a:lnTo>
                    <a:cubicBezTo>
                      <a:pt x="382676" y="546679"/>
                      <a:pt x="376752" y="174515"/>
                      <a:pt x="385045" y="68894"/>
                    </a:cubicBezTo>
                    <a:cubicBezTo>
                      <a:pt x="388991" y="34171"/>
                      <a:pt x="402359" y="16944"/>
                      <a:pt x="419442" y="9972"/>
                    </a:cubicBezTo>
                    <a:cubicBezTo>
                      <a:pt x="448526" y="31714"/>
                      <a:pt x="493907" y="66904"/>
                      <a:pt x="542062" y="104765"/>
                    </a:cubicBezTo>
                    <a:cubicBezTo>
                      <a:pt x="540817" y="287537"/>
                      <a:pt x="535943" y="468094"/>
                      <a:pt x="535781" y="652186"/>
                    </a:cubicBezTo>
                    <a:cubicBezTo>
                      <a:pt x="535780" y="674414"/>
                      <a:pt x="553047" y="700215"/>
                      <a:pt x="561978" y="720656"/>
                    </a:cubicBezTo>
                    <a:cubicBezTo>
                      <a:pt x="561382" y="920708"/>
                      <a:pt x="556024" y="1113614"/>
                      <a:pt x="555428" y="1313666"/>
                    </a:cubicBezTo>
                    <a:cubicBezTo>
                      <a:pt x="563367" y="1332916"/>
                      <a:pt x="569520" y="1339665"/>
                      <a:pt x="579244" y="1344626"/>
                    </a:cubicBezTo>
                    <a:lnTo>
                      <a:pt x="582451" y="1344714"/>
                    </a:lnTo>
                    <a:lnTo>
                      <a:pt x="582451" y="1347148"/>
                    </a:lnTo>
                    <a:lnTo>
                      <a:pt x="431589" y="1355938"/>
                    </a:lnTo>
                    <a:lnTo>
                      <a:pt x="40970" y="1345275"/>
                    </a:lnTo>
                    <a:cubicBezTo>
                      <a:pt x="31803" y="1340598"/>
                      <a:pt x="26003" y="1334237"/>
                      <a:pt x="18520" y="1316091"/>
                    </a:cubicBezTo>
                    <a:cubicBezTo>
                      <a:pt x="19082" y="1127516"/>
                      <a:pt x="24132" y="945677"/>
                      <a:pt x="24694" y="757102"/>
                    </a:cubicBezTo>
                    <a:cubicBezTo>
                      <a:pt x="16275" y="737833"/>
                      <a:pt x="-1" y="713513"/>
                      <a:pt x="0" y="692560"/>
                    </a:cubicBezTo>
                    <a:cubicBezTo>
                      <a:pt x="187" y="478917"/>
                      <a:pt x="7108" y="270326"/>
                      <a:pt x="7296" y="56683"/>
                    </a:cubicBezTo>
                    <a:cubicBezTo>
                      <a:pt x="19082" y="32925"/>
                      <a:pt x="27500" y="27685"/>
                      <a:pt x="47704" y="20764"/>
                    </a:cubicBezTo>
                    <a:cubicBezTo>
                      <a:pt x="105979" y="12580"/>
                      <a:pt x="247140" y="498"/>
                      <a:pt x="360390" y="12"/>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noAutofit/>
              </a:bodyPr>
              <a:lstStyle/>
              <a:p>
                <a:pPr algn="ctr" defTabSz="913765" fontAlgn="base">
                  <a:spcBef>
                    <a:spcPct val="0"/>
                  </a:spcBef>
                  <a:spcAft>
                    <a:spcPct val="0"/>
                  </a:spcAft>
                  <a:defRPr/>
                </a:pPr>
                <a:endParaRPr lang="en-US" kern="0" spc="-50" dirty="0" err="1">
                  <a:gradFill>
                    <a:gsLst>
                      <a:gs pos="0">
                        <a:srgbClr val="FFFFFF"/>
                      </a:gs>
                      <a:gs pos="100000">
                        <a:srgbClr val="FFFFFF"/>
                      </a:gs>
                    </a:gsLst>
                    <a:lin ang="5400000" scaled="0"/>
                  </a:gradFill>
                  <a:latin typeface="方正兰亭超细黑简体" panose="02000000000000000000" pitchFamily="2" charset="-122"/>
                  <a:ea typeface="方正兰亭超细黑简体" panose="02000000000000000000" pitchFamily="2" charset="-122"/>
                  <a:cs typeface="Segoe UI" panose="020B0502040204020203" pitchFamily="34" charset="0"/>
                </a:endParaRPr>
              </a:p>
            </p:txBody>
          </p:sp>
          <p:sp>
            <p:nvSpPr>
              <p:cNvPr id="21" name="Freeform 44"/>
              <p:cNvSpPr/>
              <p:nvPr/>
            </p:nvSpPr>
            <p:spPr bwMode="auto">
              <a:xfrm>
                <a:off x="2151225" y="3965601"/>
                <a:ext cx="835928" cy="1438462"/>
              </a:xfrm>
              <a:custGeom>
                <a:avLst/>
                <a:gdLst/>
                <a:ahLst/>
                <a:cxnLst/>
                <a:rect l="l" t="t" r="r" b="b"/>
                <a:pathLst>
                  <a:path w="1114424" h="1917697">
                    <a:moveTo>
                      <a:pt x="429889" y="432227"/>
                    </a:moveTo>
                    <a:lnTo>
                      <a:pt x="54524" y="457824"/>
                    </a:lnTo>
                    <a:lnTo>
                      <a:pt x="56390" y="485193"/>
                    </a:lnTo>
                    <a:lnTo>
                      <a:pt x="431756" y="459596"/>
                    </a:lnTo>
                    <a:close/>
                    <a:moveTo>
                      <a:pt x="425126" y="360184"/>
                    </a:moveTo>
                    <a:lnTo>
                      <a:pt x="49761" y="385781"/>
                    </a:lnTo>
                    <a:lnTo>
                      <a:pt x="51627" y="413150"/>
                    </a:lnTo>
                    <a:lnTo>
                      <a:pt x="426993" y="387553"/>
                    </a:lnTo>
                    <a:close/>
                    <a:moveTo>
                      <a:pt x="425126" y="288166"/>
                    </a:moveTo>
                    <a:lnTo>
                      <a:pt x="49761" y="313763"/>
                    </a:lnTo>
                    <a:lnTo>
                      <a:pt x="51627" y="341132"/>
                    </a:lnTo>
                    <a:lnTo>
                      <a:pt x="426993" y="315535"/>
                    </a:lnTo>
                    <a:close/>
                    <a:moveTo>
                      <a:pt x="509697" y="17"/>
                    </a:moveTo>
                    <a:cubicBezTo>
                      <a:pt x="520570" y="-30"/>
                      <a:pt x="531260" y="0"/>
                      <a:pt x="541717" y="394"/>
                    </a:cubicBezTo>
                    <a:lnTo>
                      <a:pt x="539541" y="1240"/>
                    </a:lnTo>
                    <a:cubicBezTo>
                      <a:pt x="526975" y="23921"/>
                      <a:pt x="505836" y="16879"/>
                      <a:pt x="501844" y="85705"/>
                    </a:cubicBezTo>
                    <a:cubicBezTo>
                      <a:pt x="503520" y="243687"/>
                      <a:pt x="497656" y="408709"/>
                      <a:pt x="499332" y="566691"/>
                    </a:cubicBezTo>
                    <a:cubicBezTo>
                      <a:pt x="501007" y="690262"/>
                      <a:pt x="502683" y="813832"/>
                      <a:pt x="504358" y="937403"/>
                    </a:cubicBezTo>
                    <a:lnTo>
                      <a:pt x="464151" y="1017177"/>
                    </a:lnTo>
                    <a:lnTo>
                      <a:pt x="157559" y="1026561"/>
                    </a:lnTo>
                    <a:lnTo>
                      <a:pt x="54523" y="1021869"/>
                    </a:lnTo>
                    <a:cubicBezTo>
                      <a:pt x="74627" y="1068794"/>
                      <a:pt x="79653" y="1078180"/>
                      <a:pt x="84680" y="1148567"/>
                    </a:cubicBezTo>
                    <a:cubicBezTo>
                      <a:pt x="116511" y="1125887"/>
                      <a:pt x="170300" y="1084542"/>
                      <a:pt x="202131" y="1078284"/>
                    </a:cubicBezTo>
                    <a:cubicBezTo>
                      <a:pt x="268967" y="1052474"/>
                      <a:pt x="360278" y="1061756"/>
                      <a:pt x="449071" y="1073487"/>
                    </a:cubicBezTo>
                    <a:cubicBezTo>
                      <a:pt x="443208" y="1091476"/>
                      <a:pt x="430026" y="1102424"/>
                      <a:pt x="431480" y="1127452"/>
                    </a:cubicBezTo>
                    <a:cubicBezTo>
                      <a:pt x="428966" y="1348002"/>
                      <a:pt x="428967" y="1570898"/>
                      <a:pt x="431480" y="1793794"/>
                    </a:cubicBezTo>
                    <a:cubicBezTo>
                      <a:pt x="433156" y="1814128"/>
                      <a:pt x="427291" y="1839155"/>
                      <a:pt x="439019" y="1861835"/>
                    </a:cubicBezTo>
                    <a:cubicBezTo>
                      <a:pt x="446559" y="1879041"/>
                      <a:pt x="461636" y="1891555"/>
                      <a:pt x="484255" y="1899376"/>
                    </a:cubicBezTo>
                    <a:lnTo>
                      <a:pt x="645088" y="1897029"/>
                    </a:lnTo>
                    <a:cubicBezTo>
                      <a:pt x="643412" y="1635810"/>
                      <a:pt x="641739" y="1372246"/>
                      <a:pt x="635036" y="1111027"/>
                    </a:cubicBezTo>
                    <a:cubicBezTo>
                      <a:pt x="618900" y="1061755"/>
                      <a:pt x="588126" y="1017176"/>
                      <a:pt x="564671" y="970251"/>
                    </a:cubicBezTo>
                    <a:lnTo>
                      <a:pt x="544567" y="918633"/>
                    </a:lnTo>
                    <a:cubicBezTo>
                      <a:pt x="541216" y="773165"/>
                      <a:pt x="532838" y="246816"/>
                      <a:pt x="544567" y="97436"/>
                    </a:cubicBezTo>
                    <a:cubicBezTo>
                      <a:pt x="550148" y="48328"/>
                      <a:pt x="569054" y="23963"/>
                      <a:pt x="593214" y="14103"/>
                    </a:cubicBezTo>
                    <a:cubicBezTo>
                      <a:pt x="702557" y="95845"/>
                      <a:pt x="974761" y="311975"/>
                      <a:pt x="1052221" y="374181"/>
                    </a:cubicBezTo>
                    <a:cubicBezTo>
                      <a:pt x="1070562" y="388910"/>
                      <a:pt x="1081954" y="397999"/>
                      <a:pt x="1088702" y="403335"/>
                    </a:cubicBezTo>
                    <a:lnTo>
                      <a:pt x="1087146" y="402756"/>
                    </a:lnTo>
                    <a:cubicBezTo>
                      <a:pt x="1104608" y="419689"/>
                      <a:pt x="1112788" y="432646"/>
                      <a:pt x="1112043" y="442116"/>
                    </a:cubicBezTo>
                    <a:cubicBezTo>
                      <a:pt x="1112837" y="929478"/>
                      <a:pt x="1113630" y="1400966"/>
                      <a:pt x="1114424" y="1888328"/>
                    </a:cubicBezTo>
                    <a:lnTo>
                      <a:pt x="610393" y="1917697"/>
                    </a:lnTo>
                    <a:lnTo>
                      <a:pt x="57943" y="1902616"/>
                    </a:lnTo>
                    <a:cubicBezTo>
                      <a:pt x="44979" y="1896002"/>
                      <a:pt x="36776" y="1887005"/>
                      <a:pt x="26193" y="1861341"/>
                    </a:cubicBezTo>
                    <a:cubicBezTo>
                      <a:pt x="26987" y="1594641"/>
                      <a:pt x="34130" y="1337466"/>
                      <a:pt x="34924" y="1070766"/>
                    </a:cubicBezTo>
                    <a:cubicBezTo>
                      <a:pt x="23018" y="1043514"/>
                      <a:pt x="-1" y="1009118"/>
                      <a:pt x="0" y="979484"/>
                    </a:cubicBezTo>
                    <a:cubicBezTo>
                      <a:pt x="265" y="677330"/>
                      <a:pt x="10053" y="382320"/>
                      <a:pt x="10318" y="80166"/>
                    </a:cubicBezTo>
                    <a:cubicBezTo>
                      <a:pt x="26987" y="46565"/>
                      <a:pt x="38893" y="39155"/>
                      <a:pt x="67468" y="29366"/>
                    </a:cubicBezTo>
                    <a:cubicBezTo>
                      <a:pt x="149886" y="17791"/>
                      <a:pt x="349528" y="704"/>
                      <a:pt x="509697" y="17"/>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noAutofit/>
              </a:bodyPr>
              <a:lstStyle/>
              <a:p>
                <a:pPr algn="ctr" defTabSz="913765" fontAlgn="base">
                  <a:spcBef>
                    <a:spcPct val="0"/>
                  </a:spcBef>
                  <a:spcAft>
                    <a:spcPct val="0"/>
                  </a:spcAft>
                  <a:defRPr/>
                </a:pPr>
                <a:endParaRPr lang="en-US" kern="0" spc="-50" dirty="0" err="1">
                  <a:gradFill>
                    <a:gsLst>
                      <a:gs pos="0">
                        <a:srgbClr val="FFFFFF"/>
                      </a:gs>
                      <a:gs pos="100000">
                        <a:srgbClr val="FFFFFF"/>
                      </a:gs>
                    </a:gsLst>
                    <a:lin ang="5400000" scaled="0"/>
                  </a:gradFill>
                  <a:latin typeface="方正兰亭超细黑简体" panose="02000000000000000000" pitchFamily="2" charset="-122"/>
                  <a:ea typeface="方正兰亭超细黑简体" panose="02000000000000000000" pitchFamily="2" charset="-122"/>
                  <a:cs typeface="Segoe UI" panose="020B0502040204020203" pitchFamily="34" charset="0"/>
                </a:endParaRPr>
              </a:p>
            </p:txBody>
          </p:sp>
        </p:grpSp>
        <p:sp>
          <p:nvSpPr>
            <p:cNvPr id="26" name="矩形 25"/>
            <p:cNvSpPr/>
            <p:nvPr/>
          </p:nvSpPr>
          <p:spPr>
            <a:xfrm>
              <a:off x="1396575" y="3073332"/>
              <a:ext cx="1080120" cy="21602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方正兰亭超细黑简体" panose="02000000000000000000" pitchFamily="2" charset="-122"/>
                  <a:ea typeface="方正兰亭超细黑简体" panose="02000000000000000000" pitchFamily="2" charset="-122"/>
                </a:rPr>
                <a:t>输入你的文本</a:t>
              </a:r>
            </a:p>
          </p:txBody>
        </p:sp>
        <p:sp>
          <p:nvSpPr>
            <p:cNvPr id="31" name="矩形 30"/>
            <p:cNvSpPr/>
            <p:nvPr/>
          </p:nvSpPr>
          <p:spPr>
            <a:xfrm>
              <a:off x="1232724" y="3354182"/>
              <a:ext cx="1467068" cy="757130"/>
            </a:xfrm>
            <a:prstGeom prst="rect">
              <a:avLst/>
            </a:prstGeom>
          </p:spPr>
          <p:txBody>
            <a:bodyPr wrap="none">
              <a:spAutoFit/>
            </a:bodyPr>
            <a:lstStyle/>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a:t>
              </a:r>
            </a:p>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文本</a:t>
              </a:r>
            </a:p>
            <a:p>
              <a:pPr algn="ctr">
                <a:lnSpc>
                  <a:spcPct val="120000"/>
                </a:lnSpc>
              </a:pPr>
              <a:endParaRPr lang="zh-CN" altLang="en-US" sz="1000" dirty="0">
                <a:latin typeface="方正兰亭超细黑简体" panose="02000000000000000000" pitchFamily="2" charset="-122"/>
                <a:ea typeface="方正兰亭超细黑简体" panose="02000000000000000000" pitchFamily="2" charset="-122"/>
              </a:endParaRPr>
            </a:p>
            <a:p>
              <a:pPr algn="ct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36" name="组合 35"/>
          <p:cNvGrpSpPr/>
          <p:nvPr/>
        </p:nvGrpSpPr>
        <p:grpSpPr>
          <a:xfrm>
            <a:off x="2908386" y="2038735"/>
            <a:ext cx="1467068" cy="2107476"/>
            <a:chOff x="2923027" y="1708371"/>
            <a:chExt cx="1467068" cy="2107476"/>
          </a:xfrm>
        </p:grpSpPr>
        <p:sp>
          <p:nvSpPr>
            <p:cNvPr id="23" name="矩形 22"/>
            <p:cNvSpPr/>
            <p:nvPr/>
          </p:nvSpPr>
          <p:spPr>
            <a:xfrm>
              <a:off x="2940614" y="1708371"/>
              <a:ext cx="1431894" cy="1221137"/>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nvGrpSpPr>
            <p:cNvPr id="11" name="Group 12"/>
            <p:cNvGrpSpPr/>
            <p:nvPr/>
          </p:nvGrpSpPr>
          <p:grpSpPr>
            <a:xfrm>
              <a:off x="3320282" y="1923832"/>
              <a:ext cx="784231" cy="722328"/>
              <a:chOff x="3145340" y="3977851"/>
              <a:chExt cx="1561741" cy="1438463"/>
            </a:xfrm>
            <a:solidFill>
              <a:schemeClr val="bg1"/>
            </a:solidFill>
          </p:grpSpPr>
          <p:sp>
            <p:nvSpPr>
              <p:cNvPr id="12" name="Rounded Rectangle 25"/>
              <p:cNvSpPr/>
              <p:nvPr/>
            </p:nvSpPr>
            <p:spPr bwMode="auto">
              <a:xfrm>
                <a:off x="3145340" y="3977851"/>
                <a:ext cx="1096461" cy="1438463"/>
              </a:xfrm>
              <a:custGeom>
                <a:avLst/>
                <a:gdLst/>
                <a:ahLst/>
                <a:cxnLst/>
                <a:rect l="l" t="t" r="r" b="b"/>
                <a:pathLst>
                  <a:path w="1096461" h="1438463">
                    <a:moveTo>
                      <a:pt x="144675" y="1149113"/>
                    </a:moveTo>
                    <a:lnTo>
                      <a:pt x="951786" y="1149113"/>
                    </a:lnTo>
                    <a:cubicBezTo>
                      <a:pt x="1031688" y="1149113"/>
                      <a:pt x="1096461" y="1213886"/>
                      <a:pt x="1096461" y="1293788"/>
                    </a:cubicBezTo>
                    <a:lnTo>
                      <a:pt x="1096460" y="1293788"/>
                    </a:lnTo>
                    <a:cubicBezTo>
                      <a:pt x="1096460" y="1373690"/>
                      <a:pt x="1031687" y="1438463"/>
                      <a:pt x="951785" y="1438463"/>
                    </a:cubicBezTo>
                    <a:lnTo>
                      <a:pt x="144675" y="1438462"/>
                    </a:lnTo>
                    <a:cubicBezTo>
                      <a:pt x="64773" y="1438462"/>
                      <a:pt x="0" y="1373690"/>
                      <a:pt x="0" y="1293788"/>
                    </a:cubicBezTo>
                    <a:cubicBezTo>
                      <a:pt x="0" y="1213886"/>
                      <a:pt x="64773" y="1149113"/>
                      <a:pt x="144675" y="1149113"/>
                    </a:cubicBezTo>
                    <a:close/>
                    <a:moveTo>
                      <a:pt x="611408" y="766076"/>
                    </a:moveTo>
                    <a:lnTo>
                      <a:pt x="951786" y="766076"/>
                    </a:lnTo>
                    <a:cubicBezTo>
                      <a:pt x="1020656" y="766076"/>
                      <a:pt x="1078286" y="814197"/>
                      <a:pt x="1090107" y="879280"/>
                    </a:cubicBezTo>
                    <a:cubicBezTo>
                      <a:pt x="1040273" y="939975"/>
                      <a:pt x="964477" y="977987"/>
                      <a:pt x="879802" y="977987"/>
                    </a:cubicBezTo>
                    <a:cubicBezTo>
                      <a:pt x="749330" y="977987"/>
                      <a:pt x="639938" y="887737"/>
                      <a:pt x="611408" y="766076"/>
                    </a:cubicBezTo>
                    <a:close/>
                    <a:moveTo>
                      <a:pt x="144675" y="766076"/>
                    </a:moveTo>
                    <a:lnTo>
                      <a:pt x="502558" y="766076"/>
                    </a:lnTo>
                    <a:cubicBezTo>
                      <a:pt x="523936" y="897426"/>
                      <a:pt x="612925" y="1005884"/>
                      <a:pt x="732562" y="1055426"/>
                    </a:cubicBezTo>
                    <a:lnTo>
                      <a:pt x="144675" y="1055425"/>
                    </a:lnTo>
                    <a:cubicBezTo>
                      <a:pt x="64773" y="1055425"/>
                      <a:pt x="0" y="990653"/>
                      <a:pt x="0" y="910751"/>
                    </a:cubicBezTo>
                    <a:cubicBezTo>
                      <a:pt x="0" y="830849"/>
                      <a:pt x="64773" y="766076"/>
                      <a:pt x="144675" y="766076"/>
                    </a:cubicBezTo>
                    <a:close/>
                    <a:moveTo>
                      <a:pt x="879802" y="424272"/>
                    </a:moveTo>
                    <a:cubicBezTo>
                      <a:pt x="967807" y="424272"/>
                      <a:pt x="1046221" y="465333"/>
                      <a:pt x="1095979" y="530096"/>
                    </a:cubicBezTo>
                    <a:cubicBezTo>
                      <a:pt x="1095164" y="608903"/>
                      <a:pt x="1030889" y="672388"/>
                      <a:pt x="951785" y="672388"/>
                    </a:cubicBezTo>
                    <a:lnTo>
                      <a:pt x="605841" y="672388"/>
                    </a:lnTo>
                    <a:cubicBezTo>
                      <a:pt x="618878" y="532914"/>
                      <a:pt x="736652" y="424272"/>
                      <a:pt x="879802" y="424272"/>
                    </a:cubicBezTo>
                    <a:close/>
                    <a:moveTo>
                      <a:pt x="144675" y="383038"/>
                    </a:moveTo>
                    <a:lnTo>
                      <a:pt x="665036" y="383038"/>
                    </a:lnTo>
                    <a:cubicBezTo>
                      <a:pt x="570528" y="446944"/>
                      <a:pt x="506037" y="551865"/>
                      <a:pt x="498909" y="672388"/>
                    </a:cubicBezTo>
                    <a:lnTo>
                      <a:pt x="144675" y="672387"/>
                    </a:lnTo>
                    <a:cubicBezTo>
                      <a:pt x="64773" y="672387"/>
                      <a:pt x="0" y="607615"/>
                      <a:pt x="0" y="527713"/>
                    </a:cubicBezTo>
                    <a:cubicBezTo>
                      <a:pt x="0" y="447811"/>
                      <a:pt x="64773" y="383038"/>
                      <a:pt x="144675" y="383038"/>
                    </a:cubicBezTo>
                    <a:close/>
                    <a:moveTo>
                      <a:pt x="144675" y="0"/>
                    </a:moveTo>
                    <a:lnTo>
                      <a:pt x="951786" y="0"/>
                    </a:lnTo>
                    <a:cubicBezTo>
                      <a:pt x="1031688" y="0"/>
                      <a:pt x="1096461" y="64773"/>
                      <a:pt x="1096461" y="144675"/>
                    </a:cubicBezTo>
                    <a:lnTo>
                      <a:pt x="1096460" y="144675"/>
                    </a:lnTo>
                    <a:cubicBezTo>
                      <a:pt x="1096460" y="224577"/>
                      <a:pt x="1031687" y="289350"/>
                      <a:pt x="951785" y="289350"/>
                    </a:cubicBezTo>
                    <a:lnTo>
                      <a:pt x="144675" y="289349"/>
                    </a:lnTo>
                    <a:cubicBezTo>
                      <a:pt x="64773" y="289349"/>
                      <a:pt x="0" y="224577"/>
                      <a:pt x="0" y="144675"/>
                    </a:cubicBezTo>
                    <a:cubicBezTo>
                      <a:pt x="0" y="64773"/>
                      <a:pt x="64773" y="0"/>
                      <a:pt x="144675"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noAutofit/>
              </a:bodyPr>
              <a:lstStyle/>
              <a:p>
                <a:pPr algn="ctr" defTabSz="913765"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方正兰亭超细黑简体" panose="02000000000000000000" pitchFamily="2" charset="-122"/>
                  <a:ea typeface="方正兰亭超细黑简体" panose="02000000000000000000" pitchFamily="2" charset="-122"/>
                  <a:cs typeface="Segoe UI" panose="020B0502040204020203" pitchFamily="34" charset="0"/>
                </a:endParaRPr>
              </a:p>
            </p:txBody>
          </p:sp>
          <p:sp>
            <p:nvSpPr>
              <p:cNvPr id="13" name="Rectangle 16"/>
              <p:cNvSpPr/>
              <p:nvPr>
                <p:custDataLst>
                  <p:tags r:id="rId1"/>
                </p:custDataLst>
              </p:nvPr>
            </p:nvSpPr>
            <p:spPr bwMode="auto">
              <a:xfrm>
                <a:off x="3672175" y="4325591"/>
                <a:ext cx="1034906" cy="1033310"/>
              </a:xfrm>
              <a:custGeom>
                <a:avLst/>
                <a:gdLst/>
                <a:ahLst/>
                <a:cxnLst/>
                <a:rect l="l" t="t" r="r" b="b"/>
                <a:pathLst>
                  <a:path w="2524761" h="2520867">
                    <a:moveTo>
                      <a:pt x="861098" y="135728"/>
                    </a:moveTo>
                    <a:cubicBezTo>
                      <a:pt x="459918" y="135728"/>
                      <a:pt x="134697" y="460949"/>
                      <a:pt x="134697" y="862129"/>
                    </a:cubicBezTo>
                    <a:cubicBezTo>
                      <a:pt x="134697" y="1263309"/>
                      <a:pt x="459918" y="1588530"/>
                      <a:pt x="861098" y="1588530"/>
                    </a:cubicBezTo>
                    <a:cubicBezTo>
                      <a:pt x="1262278" y="1588530"/>
                      <a:pt x="1587499" y="1263309"/>
                      <a:pt x="1587499" y="862129"/>
                    </a:cubicBezTo>
                    <a:cubicBezTo>
                      <a:pt x="1587499" y="460949"/>
                      <a:pt x="1262278" y="135728"/>
                      <a:pt x="861098" y="135728"/>
                    </a:cubicBezTo>
                    <a:close/>
                    <a:moveTo>
                      <a:pt x="863544" y="0"/>
                    </a:moveTo>
                    <a:cubicBezTo>
                      <a:pt x="1340465" y="0"/>
                      <a:pt x="1727086" y="386416"/>
                      <a:pt x="1727086" y="863083"/>
                    </a:cubicBezTo>
                    <a:cubicBezTo>
                      <a:pt x="1727086" y="1054224"/>
                      <a:pt x="1664918" y="1230855"/>
                      <a:pt x="1558909" y="1373304"/>
                    </a:cubicBezTo>
                    <a:lnTo>
                      <a:pt x="1615378" y="1431553"/>
                    </a:lnTo>
                    <a:lnTo>
                      <a:pt x="1710026" y="1406070"/>
                    </a:lnTo>
                    <a:lnTo>
                      <a:pt x="2516606" y="2211204"/>
                    </a:lnTo>
                    <a:cubicBezTo>
                      <a:pt x="2553761" y="2325037"/>
                      <a:pt x="2466530" y="2580922"/>
                      <a:pt x="2202131" y="2508007"/>
                    </a:cubicBezTo>
                    <a:lnTo>
                      <a:pt x="1372102" y="1748324"/>
                    </a:lnTo>
                    <a:lnTo>
                      <a:pt x="1403192" y="1642624"/>
                    </a:lnTo>
                    <a:lnTo>
                      <a:pt x="1333120" y="1586803"/>
                    </a:lnTo>
                    <a:cubicBezTo>
                      <a:pt x="1198215" y="1675145"/>
                      <a:pt x="1036841" y="1726166"/>
                      <a:pt x="863544" y="1726166"/>
                    </a:cubicBezTo>
                    <a:cubicBezTo>
                      <a:pt x="386622" y="1726166"/>
                      <a:pt x="0" y="1339750"/>
                      <a:pt x="0" y="863083"/>
                    </a:cubicBezTo>
                    <a:cubicBezTo>
                      <a:pt x="0" y="386416"/>
                      <a:pt x="386622" y="0"/>
                      <a:pt x="863544"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noAutofit/>
              </a:bodyPr>
              <a:lstStyle/>
              <a:p>
                <a:pPr algn="ctr" defTabSz="913765"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方正兰亭超细黑简体" panose="02000000000000000000" pitchFamily="2" charset="-122"/>
                  <a:ea typeface="方正兰亭超细黑简体" panose="02000000000000000000" pitchFamily="2" charset="-122"/>
                  <a:cs typeface="Segoe UI" panose="020B0502040204020203" pitchFamily="34" charset="0"/>
                </a:endParaRPr>
              </a:p>
            </p:txBody>
          </p:sp>
        </p:grpSp>
        <p:sp>
          <p:nvSpPr>
            <p:cNvPr id="28" name="矩形 27"/>
            <p:cNvSpPr/>
            <p:nvPr/>
          </p:nvSpPr>
          <p:spPr>
            <a:xfrm>
              <a:off x="3116501" y="3073332"/>
              <a:ext cx="1080120" cy="21602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方正兰亭超细黑简体" panose="02000000000000000000" pitchFamily="2" charset="-122"/>
                  <a:ea typeface="方正兰亭超细黑简体" panose="02000000000000000000" pitchFamily="2" charset="-122"/>
                </a:rPr>
                <a:t>输入你的文本</a:t>
              </a:r>
            </a:p>
          </p:txBody>
        </p:sp>
        <p:sp>
          <p:nvSpPr>
            <p:cNvPr id="32" name="矩形 31"/>
            <p:cNvSpPr/>
            <p:nvPr/>
          </p:nvSpPr>
          <p:spPr>
            <a:xfrm>
              <a:off x="2923027" y="3354182"/>
              <a:ext cx="1467068" cy="461665"/>
            </a:xfrm>
            <a:prstGeom prst="rect">
              <a:avLst/>
            </a:prstGeom>
          </p:spPr>
          <p:txBody>
            <a:bodyPr wrap="none">
              <a:spAutoFit/>
            </a:bodyPr>
            <a:lstStyle/>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a:t>
              </a:r>
            </a:p>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文本</a:t>
              </a:r>
            </a:p>
          </p:txBody>
        </p:sp>
      </p:grpSp>
      <p:grpSp>
        <p:nvGrpSpPr>
          <p:cNvPr id="37" name="组合 36"/>
          <p:cNvGrpSpPr/>
          <p:nvPr/>
        </p:nvGrpSpPr>
        <p:grpSpPr>
          <a:xfrm>
            <a:off x="4826374" y="2038735"/>
            <a:ext cx="1467068" cy="2402941"/>
            <a:chOff x="4648193" y="1708371"/>
            <a:chExt cx="1467068" cy="2402941"/>
          </a:xfrm>
        </p:grpSpPr>
        <p:sp>
          <p:nvSpPr>
            <p:cNvPr id="24" name="矩形 23"/>
            <p:cNvSpPr/>
            <p:nvPr/>
          </p:nvSpPr>
          <p:spPr>
            <a:xfrm>
              <a:off x="4660540" y="1708371"/>
              <a:ext cx="1431894" cy="122113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nvGrpSpPr>
            <p:cNvPr id="14" name="Group 13"/>
            <p:cNvGrpSpPr/>
            <p:nvPr/>
          </p:nvGrpSpPr>
          <p:grpSpPr>
            <a:xfrm>
              <a:off x="4984919" y="1950290"/>
              <a:ext cx="783135" cy="695870"/>
              <a:chOff x="5627370" y="3924300"/>
              <a:chExt cx="1524000" cy="1236662"/>
            </a:xfrm>
            <a:solidFill>
              <a:schemeClr val="bg1"/>
            </a:solidFill>
          </p:grpSpPr>
          <p:sp>
            <p:nvSpPr>
              <p:cNvPr id="15" name="Rectangle 42"/>
              <p:cNvSpPr/>
              <p:nvPr/>
            </p:nvSpPr>
            <p:spPr bwMode="auto">
              <a:xfrm>
                <a:off x="5627370" y="3924300"/>
                <a:ext cx="1524000" cy="1236662"/>
              </a:xfrm>
              <a:custGeom>
                <a:avLst/>
                <a:gdLst/>
                <a:ahLst/>
                <a:cxnLst/>
                <a:rect l="l" t="t" r="r" b="b"/>
                <a:pathLst>
                  <a:path w="1524000" h="1236662">
                    <a:moveTo>
                      <a:pt x="0" y="1077675"/>
                    </a:moveTo>
                    <a:lnTo>
                      <a:pt x="152603" y="1077675"/>
                    </a:lnTo>
                    <a:lnTo>
                      <a:pt x="147955" y="1100695"/>
                    </a:lnTo>
                    <a:cubicBezTo>
                      <a:pt x="147955" y="1158999"/>
                      <a:pt x="195220" y="1206264"/>
                      <a:pt x="253524" y="1206264"/>
                    </a:cubicBezTo>
                    <a:cubicBezTo>
                      <a:pt x="311828" y="1206264"/>
                      <a:pt x="359093" y="1158999"/>
                      <a:pt x="359093" y="1100695"/>
                    </a:cubicBezTo>
                    <a:cubicBezTo>
                      <a:pt x="359093" y="1092625"/>
                      <a:pt x="358188" y="1084766"/>
                      <a:pt x="354446" y="1077675"/>
                    </a:cubicBezTo>
                    <a:lnTo>
                      <a:pt x="1524000" y="1077675"/>
                    </a:lnTo>
                    <a:lnTo>
                      <a:pt x="1524000" y="1236662"/>
                    </a:lnTo>
                    <a:lnTo>
                      <a:pt x="0" y="1236662"/>
                    </a:lnTo>
                    <a:close/>
                    <a:moveTo>
                      <a:pt x="253524" y="1023701"/>
                    </a:moveTo>
                    <a:cubicBezTo>
                      <a:pt x="296047" y="1023701"/>
                      <a:pt x="330518" y="1058172"/>
                      <a:pt x="330518" y="1100695"/>
                    </a:cubicBezTo>
                    <a:cubicBezTo>
                      <a:pt x="330518" y="1143218"/>
                      <a:pt x="296047" y="1177689"/>
                      <a:pt x="253524" y="1177689"/>
                    </a:cubicBezTo>
                    <a:cubicBezTo>
                      <a:pt x="211001" y="1177689"/>
                      <a:pt x="176530" y="1143218"/>
                      <a:pt x="176530" y="1100695"/>
                    </a:cubicBezTo>
                    <a:cubicBezTo>
                      <a:pt x="176530" y="1058172"/>
                      <a:pt x="211001" y="1023701"/>
                      <a:pt x="253524" y="1023701"/>
                    </a:cubicBezTo>
                    <a:close/>
                    <a:moveTo>
                      <a:pt x="57627" y="53550"/>
                    </a:moveTo>
                    <a:lnTo>
                      <a:pt x="57627" y="945355"/>
                    </a:lnTo>
                    <a:lnTo>
                      <a:pt x="1466374" y="945355"/>
                    </a:lnTo>
                    <a:lnTo>
                      <a:pt x="1466374" y="53550"/>
                    </a:lnTo>
                    <a:close/>
                    <a:moveTo>
                      <a:pt x="42193" y="0"/>
                    </a:moveTo>
                    <a:lnTo>
                      <a:pt x="1481807" y="0"/>
                    </a:lnTo>
                    <a:cubicBezTo>
                      <a:pt x="1505110" y="0"/>
                      <a:pt x="1524000" y="18890"/>
                      <a:pt x="1524000" y="42193"/>
                    </a:cubicBezTo>
                    <a:lnTo>
                      <a:pt x="1524000" y="1047750"/>
                    </a:lnTo>
                    <a:lnTo>
                      <a:pt x="342806" y="1047750"/>
                    </a:lnTo>
                    <a:cubicBezTo>
                      <a:pt x="325940" y="1015876"/>
                      <a:pt x="292155" y="995126"/>
                      <a:pt x="253524" y="995126"/>
                    </a:cubicBezTo>
                    <a:cubicBezTo>
                      <a:pt x="214893" y="995126"/>
                      <a:pt x="181109" y="1015876"/>
                      <a:pt x="164243" y="1047750"/>
                    </a:cubicBezTo>
                    <a:lnTo>
                      <a:pt x="0" y="1047750"/>
                    </a:lnTo>
                    <a:lnTo>
                      <a:pt x="0" y="42193"/>
                    </a:lnTo>
                    <a:cubicBezTo>
                      <a:pt x="0" y="18890"/>
                      <a:pt x="18890" y="0"/>
                      <a:pt x="42193"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noAutofit/>
              </a:bodyPr>
              <a:lstStyle/>
              <a:p>
                <a:pPr algn="ctr" defTabSz="913765"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方正兰亭超细黑简体" panose="02000000000000000000" pitchFamily="2" charset="-122"/>
                  <a:ea typeface="方正兰亭超细黑简体" panose="02000000000000000000" pitchFamily="2" charset="-122"/>
                  <a:cs typeface="Segoe UI" panose="020B0502040204020203" pitchFamily="34" charset="0"/>
                </a:endParaRPr>
              </a:p>
            </p:txBody>
          </p:sp>
          <p:sp>
            <p:nvSpPr>
              <p:cNvPr id="16" name="Rectangle 46"/>
              <p:cNvSpPr/>
              <p:nvPr/>
            </p:nvSpPr>
            <p:spPr bwMode="auto">
              <a:xfrm>
                <a:off x="5740734" y="4060375"/>
                <a:ext cx="667560" cy="677969"/>
              </a:xfrm>
              <a:custGeom>
                <a:avLst/>
                <a:gdLst/>
                <a:ahLst/>
                <a:cxnLst/>
                <a:rect l="l" t="t" r="r" b="b"/>
                <a:pathLst>
                  <a:path w="667560" h="677969">
                    <a:moveTo>
                      <a:pt x="507521" y="570317"/>
                    </a:moveTo>
                    <a:lnTo>
                      <a:pt x="507521" y="645906"/>
                    </a:lnTo>
                    <a:lnTo>
                      <a:pt x="641961" y="645906"/>
                    </a:lnTo>
                    <a:lnTo>
                      <a:pt x="641961" y="570317"/>
                    </a:lnTo>
                    <a:close/>
                    <a:moveTo>
                      <a:pt x="347481" y="570317"/>
                    </a:moveTo>
                    <a:lnTo>
                      <a:pt x="347481" y="645906"/>
                    </a:lnTo>
                    <a:lnTo>
                      <a:pt x="481922" y="645906"/>
                    </a:lnTo>
                    <a:lnTo>
                      <a:pt x="481922" y="570317"/>
                    </a:lnTo>
                    <a:close/>
                    <a:moveTo>
                      <a:pt x="507521" y="462666"/>
                    </a:moveTo>
                    <a:lnTo>
                      <a:pt x="507521" y="538255"/>
                    </a:lnTo>
                    <a:lnTo>
                      <a:pt x="641961" y="538255"/>
                    </a:lnTo>
                    <a:lnTo>
                      <a:pt x="641961" y="462666"/>
                    </a:lnTo>
                    <a:close/>
                    <a:moveTo>
                      <a:pt x="347481" y="462666"/>
                    </a:moveTo>
                    <a:lnTo>
                      <a:pt x="347481" y="538255"/>
                    </a:lnTo>
                    <a:lnTo>
                      <a:pt x="481922" y="538255"/>
                    </a:lnTo>
                    <a:lnTo>
                      <a:pt x="481922" y="462666"/>
                    </a:lnTo>
                    <a:close/>
                    <a:moveTo>
                      <a:pt x="25599" y="462666"/>
                    </a:moveTo>
                    <a:lnTo>
                      <a:pt x="25599" y="538255"/>
                    </a:lnTo>
                    <a:lnTo>
                      <a:pt x="321882" y="538255"/>
                    </a:lnTo>
                    <a:lnTo>
                      <a:pt x="321882" y="462666"/>
                    </a:lnTo>
                    <a:close/>
                    <a:moveTo>
                      <a:pt x="507521" y="355015"/>
                    </a:moveTo>
                    <a:lnTo>
                      <a:pt x="507521" y="430604"/>
                    </a:lnTo>
                    <a:lnTo>
                      <a:pt x="641961" y="430604"/>
                    </a:lnTo>
                    <a:lnTo>
                      <a:pt x="641961" y="355015"/>
                    </a:lnTo>
                    <a:close/>
                    <a:moveTo>
                      <a:pt x="347481" y="355015"/>
                    </a:moveTo>
                    <a:lnTo>
                      <a:pt x="347481" y="430604"/>
                    </a:lnTo>
                    <a:lnTo>
                      <a:pt x="481922" y="430604"/>
                    </a:lnTo>
                    <a:lnTo>
                      <a:pt x="481922" y="355015"/>
                    </a:lnTo>
                    <a:close/>
                    <a:moveTo>
                      <a:pt x="25599" y="355015"/>
                    </a:moveTo>
                    <a:lnTo>
                      <a:pt x="25599" y="430604"/>
                    </a:lnTo>
                    <a:lnTo>
                      <a:pt x="321882" y="430604"/>
                    </a:lnTo>
                    <a:lnTo>
                      <a:pt x="321882" y="355015"/>
                    </a:lnTo>
                    <a:close/>
                    <a:moveTo>
                      <a:pt x="507521" y="247364"/>
                    </a:moveTo>
                    <a:lnTo>
                      <a:pt x="507521" y="322953"/>
                    </a:lnTo>
                    <a:lnTo>
                      <a:pt x="641961" y="322953"/>
                    </a:lnTo>
                    <a:lnTo>
                      <a:pt x="641961" y="247364"/>
                    </a:lnTo>
                    <a:close/>
                    <a:moveTo>
                      <a:pt x="347481" y="247364"/>
                    </a:moveTo>
                    <a:lnTo>
                      <a:pt x="347481" y="322953"/>
                    </a:lnTo>
                    <a:lnTo>
                      <a:pt x="481922" y="322953"/>
                    </a:lnTo>
                    <a:lnTo>
                      <a:pt x="481922" y="247364"/>
                    </a:lnTo>
                    <a:close/>
                    <a:moveTo>
                      <a:pt x="25599" y="247364"/>
                    </a:moveTo>
                    <a:lnTo>
                      <a:pt x="25599" y="322953"/>
                    </a:lnTo>
                    <a:lnTo>
                      <a:pt x="321882" y="322953"/>
                    </a:lnTo>
                    <a:lnTo>
                      <a:pt x="321882" y="247364"/>
                    </a:lnTo>
                    <a:close/>
                    <a:moveTo>
                      <a:pt x="507521" y="139713"/>
                    </a:moveTo>
                    <a:lnTo>
                      <a:pt x="507521" y="215302"/>
                    </a:lnTo>
                    <a:lnTo>
                      <a:pt x="641961" y="215302"/>
                    </a:lnTo>
                    <a:lnTo>
                      <a:pt x="641961" y="139713"/>
                    </a:lnTo>
                    <a:close/>
                    <a:moveTo>
                      <a:pt x="347481" y="139713"/>
                    </a:moveTo>
                    <a:lnTo>
                      <a:pt x="347481" y="215302"/>
                    </a:lnTo>
                    <a:lnTo>
                      <a:pt x="481922" y="215302"/>
                    </a:lnTo>
                    <a:lnTo>
                      <a:pt x="481922" y="139713"/>
                    </a:lnTo>
                    <a:close/>
                    <a:moveTo>
                      <a:pt x="25599" y="139713"/>
                    </a:moveTo>
                    <a:lnTo>
                      <a:pt x="25599" y="215302"/>
                    </a:lnTo>
                    <a:lnTo>
                      <a:pt x="321882" y="215302"/>
                    </a:lnTo>
                    <a:lnTo>
                      <a:pt x="321882" y="139713"/>
                    </a:lnTo>
                    <a:close/>
                    <a:moveTo>
                      <a:pt x="507521" y="32062"/>
                    </a:moveTo>
                    <a:lnTo>
                      <a:pt x="507521" y="107651"/>
                    </a:lnTo>
                    <a:lnTo>
                      <a:pt x="641961" y="107651"/>
                    </a:lnTo>
                    <a:lnTo>
                      <a:pt x="641961" y="32062"/>
                    </a:lnTo>
                    <a:close/>
                    <a:moveTo>
                      <a:pt x="347481" y="32062"/>
                    </a:moveTo>
                    <a:lnTo>
                      <a:pt x="347481" y="107651"/>
                    </a:lnTo>
                    <a:lnTo>
                      <a:pt x="481922" y="107651"/>
                    </a:lnTo>
                    <a:lnTo>
                      <a:pt x="481922" y="32062"/>
                    </a:lnTo>
                    <a:close/>
                    <a:moveTo>
                      <a:pt x="25599" y="32062"/>
                    </a:moveTo>
                    <a:lnTo>
                      <a:pt x="25599" y="107651"/>
                    </a:lnTo>
                    <a:lnTo>
                      <a:pt x="321882" y="107651"/>
                    </a:lnTo>
                    <a:lnTo>
                      <a:pt x="321882" y="32062"/>
                    </a:lnTo>
                    <a:close/>
                    <a:moveTo>
                      <a:pt x="0" y="0"/>
                    </a:moveTo>
                    <a:lnTo>
                      <a:pt x="667560" y="0"/>
                    </a:lnTo>
                    <a:lnTo>
                      <a:pt x="667560" y="2"/>
                    </a:lnTo>
                    <a:lnTo>
                      <a:pt x="667560" y="32062"/>
                    </a:lnTo>
                    <a:lnTo>
                      <a:pt x="667560" y="107651"/>
                    </a:lnTo>
                    <a:lnTo>
                      <a:pt x="667560" y="139713"/>
                    </a:lnTo>
                    <a:lnTo>
                      <a:pt x="667560" y="215302"/>
                    </a:lnTo>
                    <a:lnTo>
                      <a:pt x="667560" y="247364"/>
                    </a:lnTo>
                    <a:lnTo>
                      <a:pt x="667560" y="322953"/>
                    </a:lnTo>
                    <a:lnTo>
                      <a:pt x="667560" y="355015"/>
                    </a:lnTo>
                    <a:lnTo>
                      <a:pt x="667560" y="430604"/>
                    </a:lnTo>
                    <a:lnTo>
                      <a:pt x="667560" y="462666"/>
                    </a:lnTo>
                    <a:lnTo>
                      <a:pt x="667560" y="538255"/>
                    </a:lnTo>
                    <a:lnTo>
                      <a:pt x="667560" y="570317"/>
                    </a:lnTo>
                    <a:lnTo>
                      <a:pt x="667560" y="645906"/>
                    </a:lnTo>
                    <a:lnTo>
                      <a:pt x="667560" y="677968"/>
                    </a:lnTo>
                    <a:lnTo>
                      <a:pt x="667560" y="677969"/>
                    </a:lnTo>
                    <a:lnTo>
                      <a:pt x="641961" y="677969"/>
                    </a:lnTo>
                    <a:lnTo>
                      <a:pt x="641961" y="677968"/>
                    </a:lnTo>
                    <a:lnTo>
                      <a:pt x="507521" y="677968"/>
                    </a:lnTo>
                    <a:lnTo>
                      <a:pt x="507521" y="677969"/>
                    </a:lnTo>
                    <a:lnTo>
                      <a:pt x="481922" y="677969"/>
                    </a:lnTo>
                    <a:lnTo>
                      <a:pt x="481922" y="677968"/>
                    </a:lnTo>
                    <a:lnTo>
                      <a:pt x="347481" y="677968"/>
                    </a:lnTo>
                    <a:lnTo>
                      <a:pt x="347481" y="677969"/>
                    </a:lnTo>
                    <a:lnTo>
                      <a:pt x="321882" y="677969"/>
                    </a:lnTo>
                    <a:lnTo>
                      <a:pt x="321882" y="570317"/>
                    </a:lnTo>
                    <a:lnTo>
                      <a:pt x="0" y="570317"/>
                    </a:lnTo>
                    <a:lnTo>
                      <a:pt x="0" y="554287"/>
                    </a:lnTo>
                    <a:lnTo>
                      <a:pt x="0" y="538255"/>
                    </a:lnTo>
                    <a:lnTo>
                      <a:pt x="0" y="462666"/>
                    </a:lnTo>
                    <a:lnTo>
                      <a:pt x="0" y="430604"/>
                    </a:lnTo>
                    <a:lnTo>
                      <a:pt x="0" y="355015"/>
                    </a:lnTo>
                    <a:lnTo>
                      <a:pt x="0" y="322953"/>
                    </a:lnTo>
                    <a:lnTo>
                      <a:pt x="0" y="247364"/>
                    </a:lnTo>
                    <a:lnTo>
                      <a:pt x="0" y="215302"/>
                    </a:lnTo>
                    <a:lnTo>
                      <a:pt x="0" y="139713"/>
                    </a:lnTo>
                    <a:lnTo>
                      <a:pt x="0" y="107651"/>
                    </a:lnTo>
                    <a:lnTo>
                      <a:pt x="0" y="32062"/>
                    </a:lnTo>
                    <a:lnTo>
                      <a:pt x="0" y="2"/>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noAutofit/>
              </a:bodyPr>
              <a:lstStyle/>
              <a:p>
                <a:pPr algn="ctr" defTabSz="913765"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方正兰亭超细黑简体" panose="02000000000000000000" pitchFamily="2" charset="-122"/>
                  <a:ea typeface="方正兰亭超细黑简体" panose="02000000000000000000" pitchFamily="2" charset="-122"/>
                  <a:cs typeface="Segoe UI" panose="020B0502040204020203" pitchFamily="34" charset="0"/>
                </a:endParaRPr>
              </a:p>
            </p:txBody>
          </p:sp>
          <p:sp>
            <p:nvSpPr>
              <p:cNvPr id="17" name="Freeform 64"/>
              <p:cNvSpPr/>
              <p:nvPr/>
            </p:nvSpPr>
            <p:spPr bwMode="auto">
              <a:xfrm>
                <a:off x="6469694" y="4060375"/>
                <a:ext cx="566900" cy="361398"/>
              </a:xfrm>
              <a:custGeom>
                <a:avLst/>
                <a:gdLst/>
                <a:ahLst/>
                <a:cxnLst/>
                <a:rect l="l" t="t" r="r" b="b"/>
                <a:pathLst>
                  <a:path w="1395575" h="889678">
                    <a:moveTo>
                      <a:pt x="1288087" y="393176"/>
                    </a:moveTo>
                    <a:lnTo>
                      <a:pt x="1157081" y="483566"/>
                    </a:lnTo>
                    <a:lnTo>
                      <a:pt x="1118078" y="432149"/>
                    </a:lnTo>
                    <a:lnTo>
                      <a:pt x="1007728" y="605449"/>
                    </a:lnTo>
                    <a:lnTo>
                      <a:pt x="944370" y="572352"/>
                    </a:lnTo>
                    <a:lnTo>
                      <a:pt x="814699" y="511825"/>
                    </a:lnTo>
                    <a:lnTo>
                      <a:pt x="636856" y="666606"/>
                    </a:lnTo>
                    <a:lnTo>
                      <a:pt x="567828" y="614241"/>
                    </a:lnTo>
                    <a:lnTo>
                      <a:pt x="491174" y="722246"/>
                    </a:lnTo>
                    <a:lnTo>
                      <a:pt x="350257" y="722246"/>
                    </a:lnTo>
                    <a:lnTo>
                      <a:pt x="96017" y="830369"/>
                    </a:lnTo>
                    <a:lnTo>
                      <a:pt x="1328587" y="830369"/>
                    </a:lnTo>
                    <a:lnTo>
                      <a:pt x="1328587" y="499521"/>
                    </a:lnTo>
                    <a:close/>
                    <a:moveTo>
                      <a:pt x="1328587" y="146637"/>
                    </a:moveTo>
                    <a:lnTo>
                      <a:pt x="1217466" y="257758"/>
                    </a:lnTo>
                    <a:lnTo>
                      <a:pt x="1152160" y="174640"/>
                    </a:lnTo>
                    <a:lnTo>
                      <a:pt x="997802" y="311189"/>
                    </a:lnTo>
                    <a:lnTo>
                      <a:pt x="962179" y="257758"/>
                    </a:lnTo>
                    <a:lnTo>
                      <a:pt x="854142" y="390720"/>
                    </a:lnTo>
                    <a:lnTo>
                      <a:pt x="798327" y="351542"/>
                    </a:lnTo>
                    <a:lnTo>
                      <a:pt x="706895" y="459612"/>
                    </a:lnTo>
                    <a:lnTo>
                      <a:pt x="469419" y="459612"/>
                    </a:lnTo>
                    <a:lnTo>
                      <a:pt x="401731" y="404971"/>
                    </a:lnTo>
                    <a:lnTo>
                      <a:pt x="320995" y="542729"/>
                    </a:lnTo>
                    <a:lnTo>
                      <a:pt x="172573" y="542729"/>
                    </a:lnTo>
                    <a:lnTo>
                      <a:pt x="66990" y="677877"/>
                    </a:lnTo>
                    <a:lnTo>
                      <a:pt x="66990" y="798405"/>
                    </a:lnTo>
                    <a:lnTo>
                      <a:pt x="327711" y="680355"/>
                    </a:lnTo>
                    <a:lnTo>
                      <a:pt x="462991" y="685009"/>
                    </a:lnTo>
                    <a:lnTo>
                      <a:pt x="558814" y="559334"/>
                    </a:lnTo>
                    <a:lnTo>
                      <a:pt x="637729" y="619843"/>
                    </a:lnTo>
                    <a:lnTo>
                      <a:pt x="803422" y="472099"/>
                    </a:lnTo>
                    <a:lnTo>
                      <a:pt x="942109" y="531407"/>
                    </a:lnTo>
                    <a:lnTo>
                      <a:pt x="992841" y="559334"/>
                    </a:lnTo>
                    <a:lnTo>
                      <a:pt x="1121125" y="364495"/>
                    </a:lnTo>
                    <a:lnTo>
                      <a:pt x="1168389" y="430847"/>
                    </a:lnTo>
                    <a:lnTo>
                      <a:pt x="1303760" y="336617"/>
                    </a:lnTo>
                    <a:lnTo>
                      <a:pt x="1328587" y="398996"/>
                    </a:lnTo>
                    <a:close/>
                    <a:moveTo>
                      <a:pt x="66990" y="59308"/>
                    </a:moveTo>
                    <a:lnTo>
                      <a:pt x="66990" y="591593"/>
                    </a:lnTo>
                    <a:lnTo>
                      <a:pt x="148825" y="489298"/>
                    </a:lnTo>
                    <a:lnTo>
                      <a:pt x="291311" y="495234"/>
                    </a:lnTo>
                    <a:lnTo>
                      <a:pt x="392237" y="334937"/>
                    </a:lnTo>
                    <a:lnTo>
                      <a:pt x="475355" y="412116"/>
                    </a:lnTo>
                    <a:lnTo>
                      <a:pt x="695020" y="418055"/>
                    </a:lnTo>
                    <a:lnTo>
                      <a:pt x="795946" y="299317"/>
                    </a:lnTo>
                    <a:lnTo>
                      <a:pt x="849380" y="334937"/>
                    </a:lnTo>
                    <a:lnTo>
                      <a:pt x="968118" y="180579"/>
                    </a:lnTo>
                    <a:lnTo>
                      <a:pt x="1009709" y="253061"/>
                    </a:lnTo>
                    <a:lnTo>
                      <a:pt x="1160480" y="117686"/>
                    </a:lnTo>
                    <a:lnTo>
                      <a:pt x="1223403" y="192484"/>
                    </a:lnTo>
                    <a:lnTo>
                      <a:pt x="1328587" y="84562"/>
                    </a:lnTo>
                    <a:lnTo>
                      <a:pt x="1328587" y="59308"/>
                    </a:lnTo>
                    <a:close/>
                    <a:moveTo>
                      <a:pt x="0" y="0"/>
                    </a:moveTo>
                    <a:lnTo>
                      <a:pt x="1395575" y="0"/>
                    </a:lnTo>
                    <a:lnTo>
                      <a:pt x="1395575" y="889678"/>
                    </a:lnTo>
                    <a:lnTo>
                      <a:pt x="0" y="889678"/>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noAutofit/>
              </a:bodyPr>
              <a:lstStyle/>
              <a:p>
                <a:pPr algn="ctr" defTabSz="913765"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方正兰亭超细黑简体" panose="02000000000000000000" pitchFamily="2" charset="-122"/>
                  <a:ea typeface="方正兰亭超细黑简体" panose="02000000000000000000" pitchFamily="2" charset="-122"/>
                  <a:cs typeface="Segoe UI" panose="020B0502040204020203" pitchFamily="34" charset="0"/>
                </a:endParaRPr>
              </a:p>
            </p:txBody>
          </p:sp>
          <p:pic>
            <p:nvPicPr>
              <p:cNvPr id="18" name="Picture 2"/>
              <p:cNvPicPr>
                <a:picLocks noChangeAspect="1" noChangeArrowheads="1"/>
              </p:cNvPicPr>
              <p:nvPr/>
            </p:nvPicPr>
            <p:blipFill rotWithShape="1">
              <a:blip r:embed="rId3" cstate="screen">
                <a:lum bright="100000"/>
              </a:blip>
              <a:srcRect l="6069" t="19565" r="12771"/>
              <a:stretch>
                <a:fillRect/>
              </a:stretch>
            </p:blipFill>
            <p:spPr bwMode="auto">
              <a:xfrm>
                <a:off x="6591089" y="4495965"/>
                <a:ext cx="324111" cy="27809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9" name="矩形 28"/>
            <p:cNvSpPr/>
            <p:nvPr/>
          </p:nvSpPr>
          <p:spPr>
            <a:xfrm>
              <a:off x="4826140" y="3073332"/>
              <a:ext cx="1080120" cy="21602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方正兰亭超细黑简体" panose="02000000000000000000" pitchFamily="2" charset="-122"/>
                  <a:ea typeface="方正兰亭超细黑简体" panose="02000000000000000000" pitchFamily="2" charset="-122"/>
                </a:rPr>
                <a:t>输入你的文本</a:t>
              </a:r>
            </a:p>
          </p:txBody>
        </p:sp>
        <p:sp>
          <p:nvSpPr>
            <p:cNvPr id="33" name="矩形 32"/>
            <p:cNvSpPr/>
            <p:nvPr/>
          </p:nvSpPr>
          <p:spPr>
            <a:xfrm>
              <a:off x="4648193" y="3354182"/>
              <a:ext cx="1467068" cy="757130"/>
            </a:xfrm>
            <a:prstGeom prst="rect">
              <a:avLst/>
            </a:prstGeom>
          </p:spPr>
          <p:txBody>
            <a:bodyPr wrap="none">
              <a:spAutoFit/>
            </a:bodyPr>
            <a:lstStyle/>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a:t>
              </a:r>
            </a:p>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文本</a:t>
              </a:r>
            </a:p>
            <a:p>
              <a:pPr algn="ctr">
                <a:lnSpc>
                  <a:spcPct val="120000"/>
                </a:lnSpc>
              </a:pPr>
              <a:endParaRPr lang="zh-CN" altLang="en-US" sz="1000" dirty="0">
                <a:latin typeface="方正兰亭超细黑简体" panose="02000000000000000000" pitchFamily="2" charset="-122"/>
                <a:ea typeface="方正兰亭超细黑简体" panose="02000000000000000000" pitchFamily="2" charset="-122"/>
              </a:endParaRPr>
            </a:p>
            <a:p>
              <a:pPr algn="ct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38" name="组合 37"/>
          <p:cNvGrpSpPr/>
          <p:nvPr/>
        </p:nvGrpSpPr>
        <p:grpSpPr>
          <a:xfrm>
            <a:off x="6744362" y="2038735"/>
            <a:ext cx="1467068" cy="2402941"/>
            <a:chOff x="6373359" y="1708371"/>
            <a:chExt cx="1467068" cy="2402941"/>
          </a:xfrm>
        </p:grpSpPr>
        <p:sp>
          <p:nvSpPr>
            <p:cNvPr id="25" name="矩形 24"/>
            <p:cNvSpPr/>
            <p:nvPr/>
          </p:nvSpPr>
          <p:spPr>
            <a:xfrm>
              <a:off x="6380466" y="1708371"/>
              <a:ext cx="1431894" cy="1221137"/>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nvGrpSpPr>
            <p:cNvPr id="8" name="Group 11"/>
            <p:cNvGrpSpPr/>
            <p:nvPr/>
          </p:nvGrpSpPr>
          <p:grpSpPr>
            <a:xfrm>
              <a:off x="6558334" y="1981896"/>
              <a:ext cx="1126281" cy="650835"/>
              <a:chOff x="3080156" y="1474542"/>
              <a:chExt cx="1878788" cy="1085681"/>
            </a:xfrm>
            <a:solidFill>
              <a:schemeClr val="bg1"/>
            </a:solidFill>
          </p:grpSpPr>
          <p:sp>
            <p:nvSpPr>
              <p:cNvPr id="9" name="Rounded Rectangle 114"/>
              <p:cNvSpPr/>
              <p:nvPr/>
            </p:nvSpPr>
            <p:spPr bwMode="auto">
              <a:xfrm rot="21378433">
                <a:off x="3080156" y="1485722"/>
                <a:ext cx="945188" cy="949626"/>
              </a:xfrm>
              <a:custGeom>
                <a:avLst/>
                <a:gdLst/>
                <a:ahLst/>
                <a:cxnLst/>
                <a:rect l="l" t="t" r="r" b="b"/>
                <a:pathLst>
                  <a:path w="2827740" h="2841018">
                    <a:moveTo>
                      <a:pt x="2117041" y="2272596"/>
                    </a:moveTo>
                    <a:cubicBezTo>
                      <a:pt x="2274182" y="2430255"/>
                      <a:pt x="2238127" y="2601798"/>
                      <a:pt x="2223679" y="2692721"/>
                    </a:cubicBezTo>
                    <a:cubicBezTo>
                      <a:pt x="2087867" y="2792948"/>
                      <a:pt x="1357746" y="2843650"/>
                      <a:pt x="1121506" y="2840913"/>
                    </a:cubicBezTo>
                    <a:cubicBezTo>
                      <a:pt x="1044789" y="2769727"/>
                      <a:pt x="974832" y="2713830"/>
                      <a:pt x="944068" y="2685198"/>
                    </a:cubicBezTo>
                    <a:lnTo>
                      <a:pt x="949266" y="2662763"/>
                    </a:lnTo>
                    <a:cubicBezTo>
                      <a:pt x="1037829" y="2646207"/>
                      <a:pt x="1103471" y="2652034"/>
                      <a:pt x="1192034" y="2635479"/>
                    </a:cubicBezTo>
                    <a:cubicBezTo>
                      <a:pt x="1195810" y="2689822"/>
                      <a:pt x="1161799" y="2763439"/>
                      <a:pt x="1197770" y="2758909"/>
                    </a:cubicBezTo>
                    <a:cubicBezTo>
                      <a:pt x="1219321" y="2617009"/>
                      <a:pt x="1247325" y="2486286"/>
                      <a:pt x="1070819" y="2355083"/>
                    </a:cubicBezTo>
                    <a:close/>
                    <a:moveTo>
                      <a:pt x="880843" y="1369000"/>
                    </a:moveTo>
                    <a:lnTo>
                      <a:pt x="580558" y="1387799"/>
                    </a:lnTo>
                    <a:lnTo>
                      <a:pt x="592303" y="1748079"/>
                    </a:lnTo>
                    <a:lnTo>
                      <a:pt x="902911" y="1717220"/>
                    </a:lnTo>
                    <a:close/>
                    <a:moveTo>
                      <a:pt x="1907670" y="1396424"/>
                    </a:moveTo>
                    <a:lnTo>
                      <a:pt x="1907670" y="1396424"/>
                    </a:lnTo>
                    <a:lnTo>
                      <a:pt x="1907670" y="1396425"/>
                    </a:lnTo>
                    <a:close/>
                    <a:moveTo>
                      <a:pt x="2509109" y="1363418"/>
                    </a:moveTo>
                    <a:cubicBezTo>
                      <a:pt x="2527338" y="1363418"/>
                      <a:pt x="2542116" y="1378196"/>
                      <a:pt x="2542116" y="1396425"/>
                    </a:cubicBezTo>
                    <a:lnTo>
                      <a:pt x="2542115" y="1396425"/>
                    </a:lnTo>
                    <a:cubicBezTo>
                      <a:pt x="2542115" y="1414654"/>
                      <a:pt x="2527337" y="1429432"/>
                      <a:pt x="2509108" y="1429432"/>
                    </a:cubicBezTo>
                    <a:lnTo>
                      <a:pt x="1940677" y="1429431"/>
                    </a:lnTo>
                    <a:cubicBezTo>
                      <a:pt x="1922448" y="1429431"/>
                      <a:pt x="1907670" y="1414653"/>
                      <a:pt x="1907670" y="1396424"/>
                    </a:cubicBezTo>
                    <a:cubicBezTo>
                      <a:pt x="1907670" y="1378196"/>
                      <a:pt x="1922448" y="1363418"/>
                      <a:pt x="1940677" y="1363418"/>
                    </a:cubicBezTo>
                    <a:close/>
                    <a:moveTo>
                      <a:pt x="1889465" y="1264749"/>
                    </a:moveTo>
                    <a:lnTo>
                      <a:pt x="1889465" y="1264749"/>
                    </a:lnTo>
                    <a:lnTo>
                      <a:pt x="1889465" y="1264750"/>
                    </a:lnTo>
                    <a:close/>
                    <a:moveTo>
                      <a:pt x="2490904" y="1231743"/>
                    </a:moveTo>
                    <a:cubicBezTo>
                      <a:pt x="2509133" y="1231743"/>
                      <a:pt x="2523911" y="1246521"/>
                      <a:pt x="2523911" y="1264750"/>
                    </a:cubicBezTo>
                    <a:lnTo>
                      <a:pt x="2523910" y="1264750"/>
                    </a:lnTo>
                    <a:cubicBezTo>
                      <a:pt x="2523910" y="1282979"/>
                      <a:pt x="2509132" y="1297757"/>
                      <a:pt x="2490903" y="1297757"/>
                    </a:cubicBezTo>
                    <a:lnTo>
                      <a:pt x="1922472" y="1297756"/>
                    </a:lnTo>
                    <a:cubicBezTo>
                      <a:pt x="1904243" y="1297756"/>
                      <a:pt x="1889465" y="1282978"/>
                      <a:pt x="1889465" y="1264749"/>
                    </a:cubicBezTo>
                    <a:cubicBezTo>
                      <a:pt x="1889465" y="1246521"/>
                      <a:pt x="1904243" y="1231743"/>
                      <a:pt x="1922472" y="1231743"/>
                    </a:cubicBezTo>
                    <a:close/>
                    <a:moveTo>
                      <a:pt x="1880465" y="1134574"/>
                    </a:moveTo>
                    <a:lnTo>
                      <a:pt x="1880465" y="1134575"/>
                    </a:lnTo>
                    <a:lnTo>
                      <a:pt x="1880465" y="1134575"/>
                    </a:lnTo>
                    <a:close/>
                    <a:moveTo>
                      <a:pt x="2481904" y="1101568"/>
                    </a:moveTo>
                    <a:cubicBezTo>
                      <a:pt x="2500133" y="1101568"/>
                      <a:pt x="2514911" y="1116346"/>
                      <a:pt x="2514911" y="1134575"/>
                    </a:cubicBezTo>
                    <a:lnTo>
                      <a:pt x="2514910" y="1134575"/>
                    </a:lnTo>
                    <a:cubicBezTo>
                      <a:pt x="2514910" y="1152804"/>
                      <a:pt x="2500132" y="1167582"/>
                      <a:pt x="2481903" y="1167582"/>
                    </a:cubicBezTo>
                    <a:lnTo>
                      <a:pt x="1913472" y="1167581"/>
                    </a:lnTo>
                    <a:cubicBezTo>
                      <a:pt x="1895243" y="1167581"/>
                      <a:pt x="1880465" y="1152803"/>
                      <a:pt x="1880465" y="1134575"/>
                    </a:cubicBezTo>
                    <a:cubicBezTo>
                      <a:pt x="1880465" y="1116346"/>
                      <a:pt x="1895243" y="1101568"/>
                      <a:pt x="1913472" y="1101568"/>
                    </a:cubicBezTo>
                    <a:close/>
                    <a:moveTo>
                      <a:pt x="1670888" y="1044901"/>
                    </a:moveTo>
                    <a:cubicBezTo>
                      <a:pt x="1745356" y="1115767"/>
                      <a:pt x="1792537" y="1219845"/>
                      <a:pt x="1794576" y="1336371"/>
                    </a:cubicBezTo>
                    <a:cubicBezTo>
                      <a:pt x="1796258" y="1432463"/>
                      <a:pt x="1766965" y="1521168"/>
                      <a:pt x="1715392" y="1589971"/>
                    </a:cubicBezTo>
                    <a:lnTo>
                      <a:pt x="1460652" y="1356165"/>
                    </a:lnTo>
                    <a:close/>
                    <a:moveTo>
                      <a:pt x="850961" y="924919"/>
                    </a:moveTo>
                    <a:lnTo>
                      <a:pt x="558241" y="925116"/>
                    </a:lnTo>
                    <a:lnTo>
                      <a:pt x="575096" y="1304815"/>
                    </a:lnTo>
                    <a:lnTo>
                      <a:pt x="868839" y="1288776"/>
                    </a:lnTo>
                    <a:close/>
                    <a:moveTo>
                      <a:pt x="1379551" y="949114"/>
                    </a:moveTo>
                    <a:lnTo>
                      <a:pt x="1446658" y="1376884"/>
                    </a:lnTo>
                    <a:lnTo>
                      <a:pt x="1446659" y="1376882"/>
                    </a:lnTo>
                    <a:lnTo>
                      <a:pt x="1446455" y="1380053"/>
                    </a:lnTo>
                    <a:lnTo>
                      <a:pt x="1699552" y="1611887"/>
                    </a:lnTo>
                    <a:cubicBezTo>
                      <a:pt x="1635404" y="1690619"/>
                      <a:pt x="1542531" y="1740316"/>
                      <a:pt x="1438617" y="1742134"/>
                    </a:cubicBezTo>
                    <a:cubicBezTo>
                      <a:pt x="1238165" y="1745642"/>
                      <a:pt x="1072537" y="1569664"/>
                      <a:pt x="1068677" y="1349075"/>
                    </a:cubicBezTo>
                    <a:cubicBezTo>
                      <a:pt x="1065113" y="1145421"/>
                      <a:pt x="1200678" y="974941"/>
                      <a:pt x="1379551" y="949114"/>
                    </a:cubicBezTo>
                    <a:close/>
                    <a:moveTo>
                      <a:pt x="2446737" y="687457"/>
                    </a:moveTo>
                    <a:lnTo>
                      <a:pt x="903247" y="643293"/>
                    </a:lnTo>
                    <a:lnTo>
                      <a:pt x="906180" y="700861"/>
                    </a:lnTo>
                    <a:lnTo>
                      <a:pt x="2449573" y="744909"/>
                    </a:lnTo>
                    <a:close/>
                    <a:moveTo>
                      <a:pt x="2441085" y="573022"/>
                    </a:moveTo>
                    <a:lnTo>
                      <a:pt x="897418" y="528853"/>
                    </a:lnTo>
                    <a:lnTo>
                      <a:pt x="900350" y="586422"/>
                    </a:lnTo>
                    <a:lnTo>
                      <a:pt x="2443923" y="630476"/>
                    </a:lnTo>
                    <a:close/>
                    <a:moveTo>
                      <a:pt x="2496211" y="489777"/>
                    </a:moveTo>
                    <a:lnTo>
                      <a:pt x="2510220" y="813569"/>
                    </a:lnTo>
                    <a:lnTo>
                      <a:pt x="909594" y="784077"/>
                    </a:lnTo>
                    <a:lnTo>
                      <a:pt x="964396" y="1804001"/>
                    </a:lnTo>
                    <a:lnTo>
                      <a:pt x="524733" y="1842893"/>
                    </a:lnTo>
                    <a:lnTo>
                      <a:pt x="459271" y="410673"/>
                    </a:lnTo>
                    <a:close/>
                    <a:moveTo>
                      <a:pt x="2629588" y="282400"/>
                    </a:moveTo>
                    <a:lnTo>
                      <a:pt x="310251" y="153390"/>
                    </a:lnTo>
                    <a:lnTo>
                      <a:pt x="409854" y="2139731"/>
                    </a:lnTo>
                    <a:lnTo>
                      <a:pt x="2701663" y="2005119"/>
                    </a:lnTo>
                    <a:close/>
                    <a:moveTo>
                      <a:pt x="28715" y="0"/>
                    </a:moveTo>
                    <a:lnTo>
                      <a:pt x="2728199" y="174227"/>
                    </a:lnTo>
                    <a:lnTo>
                      <a:pt x="2827740" y="2181245"/>
                    </a:lnTo>
                    <a:lnTo>
                      <a:pt x="218271" y="2386985"/>
                    </a:lnTo>
                    <a:lnTo>
                      <a:pt x="119907" y="2373001"/>
                    </a:lnTo>
                    <a:lnTo>
                      <a:pt x="13" y="89778"/>
                    </a:lnTo>
                    <a:cubicBezTo>
                      <a:pt x="-722" y="61732"/>
                      <a:pt x="29450" y="28046"/>
                      <a:pt x="28715"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noAutofit/>
              </a:bodyPr>
              <a:lstStyle/>
              <a:p>
                <a:pPr algn="ctr" defTabSz="913765"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方正兰亭超细黑简体" panose="02000000000000000000" pitchFamily="2" charset="-122"/>
                  <a:ea typeface="方正兰亭超细黑简体" panose="02000000000000000000" pitchFamily="2" charset="-122"/>
                  <a:cs typeface="Segoe UI" panose="020B0502040204020203" pitchFamily="34" charset="0"/>
                </a:endParaRPr>
              </a:p>
            </p:txBody>
          </p:sp>
          <p:sp>
            <p:nvSpPr>
              <p:cNvPr id="10" name="Freeform 56"/>
              <p:cNvSpPr/>
              <p:nvPr/>
            </p:nvSpPr>
            <p:spPr bwMode="auto">
              <a:xfrm>
                <a:off x="3831331" y="1474542"/>
                <a:ext cx="1127613" cy="1085681"/>
              </a:xfrm>
              <a:custGeom>
                <a:avLst/>
                <a:gdLst/>
                <a:ahLst/>
                <a:cxnLst/>
                <a:rect l="l" t="t" r="r" b="b"/>
                <a:pathLst>
                  <a:path w="3373507" h="3248057">
                    <a:moveTo>
                      <a:pt x="1925205" y="833"/>
                    </a:moveTo>
                    <a:cubicBezTo>
                      <a:pt x="1988274" y="-2568"/>
                      <a:pt x="2043792" y="4235"/>
                      <a:pt x="2086246" y="24918"/>
                    </a:cubicBezTo>
                    <a:cubicBezTo>
                      <a:pt x="2142852" y="52495"/>
                      <a:pt x="2158829" y="117798"/>
                      <a:pt x="2199458" y="172964"/>
                    </a:cubicBezTo>
                    <a:cubicBezTo>
                      <a:pt x="2240087" y="228130"/>
                      <a:pt x="2299016" y="294147"/>
                      <a:pt x="2330018" y="355912"/>
                    </a:cubicBezTo>
                    <a:cubicBezTo>
                      <a:pt x="2361020" y="417677"/>
                      <a:pt x="2379651" y="489864"/>
                      <a:pt x="2385468" y="543555"/>
                    </a:cubicBezTo>
                    <a:cubicBezTo>
                      <a:pt x="2391285" y="597246"/>
                      <a:pt x="2361088" y="630969"/>
                      <a:pt x="2364920" y="678061"/>
                    </a:cubicBezTo>
                    <a:cubicBezTo>
                      <a:pt x="2368752" y="725153"/>
                      <a:pt x="2344600" y="756439"/>
                      <a:pt x="2408463" y="826107"/>
                    </a:cubicBezTo>
                    <a:cubicBezTo>
                      <a:pt x="2472326" y="895775"/>
                      <a:pt x="2613115" y="985764"/>
                      <a:pt x="2748098" y="1096072"/>
                    </a:cubicBezTo>
                    <a:cubicBezTo>
                      <a:pt x="2883081" y="1206380"/>
                      <a:pt x="3115309" y="1322495"/>
                      <a:pt x="3218360" y="1487958"/>
                    </a:cubicBezTo>
                    <a:cubicBezTo>
                      <a:pt x="3321411" y="1653421"/>
                      <a:pt x="3344635" y="1898713"/>
                      <a:pt x="3366406" y="2088850"/>
                    </a:cubicBezTo>
                    <a:cubicBezTo>
                      <a:pt x="3388178" y="2278987"/>
                      <a:pt x="3353343" y="2447353"/>
                      <a:pt x="3348989" y="2628781"/>
                    </a:cubicBezTo>
                    <a:cubicBezTo>
                      <a:pt x="3344635" y="2810209"/>
                      <a:pt x="3389628" y="3075821"/>
                      <a:pt x="3340280" y="3177421"/>
                    </a:cubicBezTo>
                    <a:cubicBezTo>
                      <a:pt x="3290932" y="3279021"/>
                      <a:pt x="3302544" y="3226770"/>
                      <a:pt x="3052898" y="3238381"/>
                    </a:cubicBezTo>
                    <a:cubicBezTo>
                      <a:pt x="2803252" y="3249992"/>
                      <a:pt x="2131240" y="3248542"/>
                      <a:pt x="1842406" y="3247090"/>
                    </a:cubicBezTo>
                    <a:cubicBezTo>
                      <a:pt x="1553572" y="3245639"/>
                      <a:pt x="1408429" y="3251443"/>
                      <a:pt x="1319892" y="3229672"/>
                    </a:cubicBezTo>
                    <a:cubicBezTo>
                      <a:pt x="1231355" y="3207901"/>
                      <a:pt x="1322795" y="3162907"/>
                      <a:pt x="1311183" y="3116461"/>
                    </a:cubicBezTo>
                    <a:cubicBezTo>
                      <a:pt x="1299571" y="3070015"/>
                      <a:pt x="1276349" y="2988735"/>
                      <a:pt x="1250223" y="2950998"/>
                    </a:cubicBezTo>
                    <a:cubicBezTo>
                      <a:pt x="1224097" y="2913261"/>
                      <a:pt x="1174749" y="2919067"/>
                      <a:pt x="1154429" y="2890038"/>
                    </a:cubicBezTo>
                    <a:cubicBezTo>
                      <a:pt x="1134109" y="2861010"/>
                      <a:pt x="1168943" y="2791341"/>
                      <a:pt x="1128303" y="2776827"/>
                    </a:cubicBezTo>
                    <a:cubicBezTo>
                      <a:pt x="1087663" y="2762313"/>
                      <a:pt x="964292" y="2802952"/>
                      <a:pt x="910589" y="2802952"/>
                    </a:cubicBezTo>
                    <a:cubicBezTo>
                      <a:pt x="856886" y="2802952"/>
                      <a:pt x="846726" y="2785536"/>
                      <a:pt x="806086" y="2776827"/>
                    </a:cubicBezTo>
                    <a:cubicBezTo>
                      <a:pt x="765446" y="2768119"/>
                      <a:pt x="708840" y="2753604"/>
                      <a:pt x="666749" y="2750701"/>
                    </a:cubicBezTo>
                    <a:cubicBezTo>
                      <a:pt x="624658" y="2747798"/>
                      <a:pt x="575309" y="2776827"/>
                      <a:pt x="553538" y="2759410"/>
                    </a:cubicBezTo>
                    <a:cubicBezTo>
                      <a:pt x="543637" y="2751490"/>
                      <a:pt x="534036" y="2736364"/>
                      <a:pt x="529472" y="2717947"/>
                    </a:cubicBezTo>
                    <a:cubicBezTo>
                      <a:pt x="359272" y="2716307"/>
                      <a:pt x="429748" y="2631730"/>
                      <a:pt x="416719" y="2552106"/>
                    </a:cubicBezTo>
                    <a:cubicBezTo>
                      <a:pt x="418307" y="2406056"/>
                      <a:pt x="112712" y="2614812"/>
                      <a:pt x="0" y="2406850"/>
                    </a:cubicBezTo>
                    <a:lnTo>
                      <a:pt x="2381" y="2383037"/>
                    </a:lnTo>
                    <a:cubicBezTo>
                      <a:pt x="139699" y="2569568"/>
                      <a:pt x="317500" y="2415582"/>
                      <a:pt x="421481" y="2497338"/>
                    </a:cubicBezTo>
                    <a:cubicBezTo>
                      <a:pt x="479927" y="2594173"/>
                      <a:pt x="362078" y="2684677"/>
                      <a:pt x="526445" y="2697072"/>
                    </a:cubicBezTo>
                    <a:cubicBezTo>
                      <a:pt x="523870" y="2680513"/>
                      <a:pt x="526753" y="2662728"/>
                      <a:pt x="536120" y="2646198"/>
                    </a:cubicBezTo>
                    <a:cubicBezTo>
                      <a:pt x="560794" y="2602655"/>
                      <a:pt x="647880" y="2543146"/>
                      <a:pt x="701583" y="2498152"/>
                    </a:cubicBezTo>
                    <a:cubicBezTo>
                      <a:pt x="755286" y="2453158"/>
                      <a:pt x="807538" y="2383489"/>
                      <a:pt x="858338" y="2376232"/>
                    </a:cubicBezTo>
                    <a:cubicBezTo>
                      <a:pt x="909138" y="2368975"/>
                      <a:pt x="962840" y="2437193"/>
                      <a:pt x="1006383" y="2454610"/>
                    </a:cubicBezTo>
                    <a:cubicBezTo>
                      <a:pt x="1049926" y="2472027"/>
                      <a:pt x="1071698" y="2464769"/>
                      <a:pt x="1119595" y="2480735"/>
                    </a:cubicBezTo>
                    <a:cubicBezTo>
                      <a:pt x="1167492" y="2496701"/>
                      <a:pt x="1257480" y="2569272"/>
                      <a:pt x="1293766" y="2550404"/>
                    </a:cubicBezTo>
                    <a:cubicBezTo>
                      <a:pt x="1330052" y="2531536"/>
                      <a:pt x="1319892" y="2419775"/>
                      <a:pt x="1337309" y="2367524"/>
                    </a:cubicBezTo>
                    <a:cubicBezTo>
                      <a:pt x="1354726" y="2315273"/>
                      <a:pt x="1386658" y="2296404"/>
                      <a:pt x="1398269" y="2236895"/>
                    </a:cubicBezTo>
                    <a:cubicBezTo>
                      <a:pt x="1409880" y="2177386"/>
                      <a:pt x="1405527" y="2094655"/>
                      <a:pt x="1406978" y="2010472"/>
                    </a:cubicBezTo>
                    <a:cubicBezTo>
                      <a:pt x="1408429" y="1926289"/>
                      <a:pt x="1372144" y="1817432"/>
                      <a:pt x="1406978" y="1731798"/>
                    </a:cubicBezTo>
                    <a:cubicBezTo>
                      <a:pt x="1441812" y="1646164"/>
                      <a:pt x="1544863" y="1560530"/>
                      <a:pt x="1615983" y="1496667"/>
                    </a:cubicBezTo>
                    <a:cubicBezTo>
                      <a:pt x="1687103" y="1432804"/>
                      <a:pt x="1787252" y="1380553"/>
                      <a:pt x="1833698" y="1348621"/>
                    </a:cubicBezTo>
                    <a:cubicBezTo>
                      <a:pt x="1880144" y="1316689"/>
                      <a:pt x="1887401" y="1323946"/>
                      <a:pt x="1894658" y="1305078"/>
                    </a:cubicBezTo>
                    <a:cubicBezTo>
                      <a:pt x="1901915" y="1286210"/>
                      <a:pt x="1902844" y="1233562"/>
                      <a:pt x="1877240" y="1235410"/>
                    </a:cubicBezTo>
                    <a:cubicBezTo>
                      <a:pt x="1851636" y="1237258"/>
                      <a:pt x="1770061" y="1314717"/>
                      <a:pt x="1741033" y="1316168"/>
                    </a:cubicBezTo>
                    <a:cubicBezTo>
                      <a:pt x="1712005" y="1317619"/>
                      <a:pt x="1713751" y="1261932"/>
                      <a:pt x="1703069" y="1244118"/>
                    </a:cubicBezTo>
                    <a:cubicBezTo>
                      <a:pt x="1692387" y="1226304"/>
                      <a:pt x="1690527" y="1224331"/>
                      <a:pt x="1676943" y="1209284"/>
                    </a:cubicBezTo>
                    <a:cubicBezTo>
                      <a:pt x="1663359" y="1194237"/>
                      <a:pt x="1633174" y="1171251"/>
                      <a:pt x="1621563" y="1153834"/>
                    </a:cubicBezTo>
                    <a:cubicBezTo>
                      <a:pt x="1609952" y="1136417"/>
                      <a:pt x="1618365" y="1117311"/>
                      <a:pt x="1607275" y="1104781"/>
                    </a:cubicBezTo>
                    <a:cubicBezTo>
                      <a:pt x="1596185" y="1092251"/>
                      <a:pt x="1578529" y="1084483"/>
                      <a:pt x="1555023" y="1078655"/>
                    </a:cubicBezTo>
                    <a:cubicBezTo>
                      <a:pt x="1531517" y="1072827"/>
                      <a:pt x="1474944" y="1108885"/>
                      <a:pt x="1466236" y="1069810"/>
                    </a:cubicBezTo>
                    <a:cubicBezTo>
                      <a:pt x="1457528" y="1030735"/>
                      <a:pt x="1509745" y="934941"/>
                      <a:pt x="1502772" y="887067"/>
                    </a:cubicBezTo>
                    <a:cubicBezTo>
                      <a:pt x="1495799" y="839193"/>
                      <a:pt x="1444307" y="815947"/>
                      <a:pt x="1424395" y="782564"/>
                    </a:cubicBezTo>
                    <a:cubicBezTo>
                      <a:pt x="1404483" y="749181"/>
                      <a:pt x="1390161" y="712488"/>
                      <a:pt x="1383301" y="686770"/>
                    </a:cubicBezTo>
                    <a:cubicBezTo>
                      <a:pt x="1376441" y="661053"/>
                      <a:pt x="1394845" y="655836"/>
                      <a:pt x="1383234" y="628259"/>
                    </a:cubicBezTo>
                    <a:cubicBezTo>
                      <a:pt x="1371623" y="600682"/>
                      <a:pt x="1297066" y="643726"/>
                      <a:pt x="1285058" y="607032"/>
                    </a:cubicBezTo>
                    <a:cubicBezTo>
                      <a:pt x="1273050" y="570338"/>
                      <a:pt x="1267640" y="492051"/>
                      <a:pt x="1311183" y="408095"/>
                    </a:cubicBezTo>
                    <a:cubicBezTo>
                      <a:pt x="1354726" y="324139"/>
                      <a:pt x="1454875" y="170061"/>
                      <a:pt x="1546315" y="103295"/>
                    </a:cubicBezTo>
                    <a:cubicBezTo>
                      <a:pt x="1637755" y="36529"/>
                      <a:pt x="1769835" y="20564"/>
                      <a:pt x="1859823" y="7501"/>
                    </a:cubicBezTo>
                    <a:cubicBezTo>
                      <a:pt x="1882320" y="4235"/>
                      <a:pt x="1904182" y="1967"/>
                      <a:pt x="1925205" y="833"/>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noAutofit/>
              </a:bodyPr>
              <a:lstStyle/>
              <a:p>
                <a:pPr algn="ctr" defTabSz="913765" fontAlgn="base">
                  <a:spcBef>
                    <a:spcPct val="0"/>
                  </a:spcBef>
                  <a:spcAft>
                    <a:spcPct val="0"/>
                  </a:spcAft>
                  <a:defRPr/>
                </a:pPr>
                <a:endParaRPr lang="en-US" kern="0" spc="-50" dirty="0" err="1">
                  <a:ln>
                    <a:solidFill>
                      <a:schemeClr val="tx1">
                        <a:alpha val="0"/>
                      </a:schemeClr>
                    </a:solidFill>
                  </a:ln>
                  <a:gradFill>
                    <a:gsLst>
                      <a:gs pos="0">
                        <a:srgbClr val="FFFFFF"/>
                      </a:gs>
                      <a:gs pos="100000">
                        <a:srgbClr val="FFFFFF"/>
                      </a:gs>
                    </a:gsLst>
                    <a:lin ang="5400000" scaled="0"/>
                  </a:gradFill>
                  <a:latin typeface="方正兰亭超细黑简体" panose="02000000000000000000" pitchFamily="2" charset="-122"/>
                  <a:ea typeface="方正兰亭超细黑简体" panose="02000000000000000000" pitchFamily="2" charset="-122"/>
                  <a:cs typeface="Segoe UI" panose="020B0502040204020203" pitchFamily="34" charset="0"/>
                </a:endParaRPr>
              </a:p>
            </p:txBody>
          </p:sp>
        </p:grpSp>
        <p:sp>
          <p:nvSpPr>
            <p:cNvPr id="30" name="矩形 29"/>
            <p:cNvSpPr/>
            <p:nvPr/>
          </p:nvSpPr>
          <p:spPr>
            <a:xfrm>
              <a:off x="6571278" y="3073332"/>
              <a:ext cx="1080120" cy="21602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100" dirty="0">
                  <a:latin typeface="方正兰亭超细黑简体" panose="02000000000000000000" pitchFamily="2" charset="-122"/>
                  <a:ea typeface="方正兰亭超细黑简体" panose="02000000000000000000" pitchFamily="2" charset="-122"/>
                </a:rPr>
                <a:t>输入你的文本</a:t>
              </a:r>
            </a:p>
          </p:txBody>
        </p:sp>
        <p:sp>
          <p:nvSpPr>
            <p:cNvPr id="34" name="矩形 33"/>
            <p:cNvSpPr/>
            <p:nvPr/>
          </p:nvSpPr>
          <p:spPr>
            <a:xfrm>
              <a:off x="6373359" y="3354182"/>
              <a:ext cx="1467068" cy="757130"/>
            </a:xfrm>
            <a:prstGeom prst="rect">
              <a:avLst/>
            </a:prstGeom>
          </p:spPr>
          <p:txBody>
            <a:bodyPr wrap="none">
              <a:spAutoFit/>
            </a:bodyPr>
            <a:lstStyle/>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a:t>
              </a:r>
            </a:p>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文本</a:t>
              </a:r>
            </a:p>
            <a:p>
              <a:pPr algn="ctr">
                <a:lnSpc>
                  <a:spcPct val="120000"/>
                </a:lnSpc>
              </a:pPr>
              <a:endParaRPr lang="zh-CN" altLang="en-US" sz="1000" dirty="0">
                <a:latin typeface="方正兰亭超细黑简体" panose="02000000000000000000" pitchFamily="2" charset="-122"/>
                <a:ea typeface="方正兰亭超细黑简体" panose="02000000000000000000" pitchFamily="2" charset="-122"/>
              </a:endParaRPr>
            </a:p>
            <a:p>
              <a:pPr algn="ct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100"/>
                                  </p:stCondLst>
                                  <p:childTnLst>
                                    <p:set>
                                      <p:cBhvr>
                                        <p:cTn id="10" dur="1" fill="hold">
                                          <p:stCondLst>
                                            <p:cond delay="0"/>
                                          </p:stCondLst>
                                        </p:cTn>
                                        <p:tgtEl>
                                          <p:spTgt spid="36"/>
                                        </p:tgtEl>
                                        <p:attrNameLst>
                                          <p:attrName>style.visibility</p:attrName>
                                        </p:attrNameLst>
                                      </p:cBhvr>
                                      <p:to>
                                        <p:strVal val="visible"/>
                                      </p:to>
                                    </p:set>
                                    <p:anim calcmode="lin" valueType="num">
                                      <p:cBhvr additive="base">
                                        <p:cTn id="11" dur="500" fill="hold"/>
                                        <p:tgtEl>
                                          <p:spTgt spid="36"/>
                                        </p:tgtEl>
                                        <p:attrNameLst>
                                          <p:attrName>ppt_x</p:attrName>
                                        </p:attrNameLst>
                                      </p:cBhvr>
                                      <p:tavLst>
                                        <p:tav tm="0">
                                          <p:val>
                                            <p:strVal val="#ppt_x"/>
                                          </p:val>
                                        </p:tav>
                                        <p:tav tm="100000">
                                          <p:val>
                                            <p:strVal val="#ppt_x"/>
                                          </p:val>
                                        </p:tav>
                                      </p:tavLst>
                                    </p:anim>
                                    <p:anim calcmode="lin" valueType="num">
                                      <p:cBhvr additive="base">
                                        <p:cTn id="12" dur="500" fill="hold"/>
                                        <p:tgtEl>
                                          <p:spTgt spid="36"/>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200"/>
                                  </p:stCondLst>
                                  <p:childTnLst>
                                    <p:set>
                                      <p:cBhvr>
                                        <p:cTn id="14" dur="1" fill="hold">
                                          <p:stCondLst>
                                            <p:cond delay="0"/>
                                          </p:stCondLst>
                                        </p:cTn>
                                        <p:tgtEl>
                                          <p:spTgt spid="37"/>
                                        </p:tgtEl>
                                        <p:attrNameLst>
                                          <p:attrName>style.visibility</p:attrName>
                                        </p:attrNameLst>
                                      </p:cBhvr>
                                      <p:to>
                                        <p:strVal val="visible"/>
                                      </p:to>
                                    </p:set>
                                    <p:anim calcmode="lin" valueType="num">
                                      <p:cBhvr additive="base">
                                        <p:cTn id="15" dur="500" fill="hold"/>
                                        <p:tgtEl>
                                          <p:spTgt spid="37"/>
                                        </p:tgtEl>
                                        <p:attrNameLst>
                                          <p:attrName>ppt_x</p:attrName>
                                        </p:attrNameLst>
                                      </p:cBhvr>
                                      <p:tavLst>
                                        <p:tav tm="0">
                                          <p:val>
                                            <p:strVal val="#ppt_x"/>
                                          </p:val>
                                        </p:tav>
                                        <p:tav tm="100000">
                                          <p:val>
                                            <p:strVal val="#ppt_x"/>
                                          </p:val>
                                        </p:tav>
                                      </p:tavLst>
                                    </p:anim>
                                    <p:anim calcmode="lin" valueType="num">
                                      <p:cBhvr additive="base">
                                        <p:cTn id="16" dur="500" fill="hold"/>
                                        <p:tgtEl>
                                          <p:spTgt spid="37"/>
                                        </p:tgtEl>
                                        <p:attrNameLst>
                                          <p:attrName>ppt_y</p:attrName>
                                        </p:attrNameLst>
                                      </p:cBhvr>
                                      <p:tavLst>
                                        <p:tav tm="0">
                                          <p:val>
                                            <p:strVal val="0-#ppt_h/2"/>
                                          </p:val>
                                        </p:tav>
                                        <p:tav tm="100000">
                                          <p:val>
                                            <p:strVal val="#ppt_y"/>
                                          </p:val>
                                        </p:tav>
                                      </p:tavLst>
                                    </p:anim>
                                  </p:childTnLst>
                                </p:cTn>
                              </p:par>
                              <p:par>
                                <p:cTn id="17" presetID="2" presetClass="entr" presetSubtype="1" fill="hold" nodeType="withEffect">
                                  <p:stCondLst>
                                    <p:cond delay="400"/>
                                  </p:stCondLst>
                                  <p:childTnLst>
                                    <p:set>
                                      <p:cBhvr>
                                        <p:cTn id="18" dur="1" fill="hold">
                                          <p:stCondLst>
                                            <p:cond delay="0"/>
                                          </p:stCondLst>
                                        </p:cTn>
                                        <p:tgtEl>
                                          <p:spTgt spid="38"/>
                                        </p:tgtEl>
                                        <p:attrNameLst>
                                          <p:attrName>style.visibility</p:attrName>
                                        </p:attrNameLst>
                                      </p:cBhvr>
                                      <p:to>
                                        <p:strVal val="visible"/>
                                      </p:to>
                                    </p:set>
                                    <p:anim calcmode="lin" valueType="num">
                                      <p:cBhvr additive="base">
                                        <p:cTn id="19" dur="500" fill="hold"/>
                                        <p:tgtEl>
                                          <p:spTgt spid="38"/>
                                        </p:tgtEl>
                                        <p:attrNameLst>
                                          <p:attrName>ppt_x</p:attrName>
                                        </p:attrNameLst>
                                      </p:cBhvr>
                                      <p:tavLst>
                                        <p:tav tm="0">
                                          <p:val>
                                            <p:strVal val="#ppt_x"/>
                                          </p:val>
                                        </p:tav>
                                        <p:tav tm="100000">
                                          <p:val>
                                            <p:strVal val="#ppt_x"/>
                                          </p:val>
                                        </p:tav>
                                      </p:tavLst>
                                    </p:anim>
                                    <p:anim calcmode="lin" valueType="num">
                                      <p:cBhvr additive="base">
                                        <p:cTn id="20" dur="500" fill="hold"/>
                                        <p:tgtEl>
                                          <p:spTgt spid="3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cxnSp>
        <p:nvCxnSpPr>
          <p:cNvPr id="3" name="直接连接符 2"/>
          <p:cNvCxnSpPr/>
          <p:nvPr/>
        </p:nvCxnSpPr>
        <p:spPr>
          <a:xfrm>
            <a:off x="827584" y="3145532"/>
            <a:ext cx="6336704"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2" name="组合 11"/>
          <p:cNvGrpSpPr/>
          <p:nvPr/>
        </p:nvGrpSpPr>
        <p:grpSpPr>
          <a:xfrm>
            <a:off x="683568" y="3037520"/>
            <a:ext cx="216024" cy="216024"/>
            <a:chOff x="353857" y="3001516"/>
            <a:chExt cx="288032" cy="288032"/>
          </a:xfrm>
        </p:grpSpPr>
        <p:sp>
          <p:nvSpPr>
            <p:cNvPr id="9" name="椭圆 8"/>
            <p:cNvSpPr/>
            <p:nvPr/>
          </p:nvSpPr>
          <p:spPr>
            <a:xfrm>
              <a:off x="353857" y="3001516"/>
              <a:ext cx="288032" cy="28803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10" name="椭圆 9"/>
            <p:cNvSpPr/>
            <p:nvPr/>
          </p:nvSpPr>
          <p:spPr>
            <a:xfrm>
              <a:off x="407873" y="3055532"/>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2" name="组合 1"/>
          <p:cNvGrpSpPr/>
          <p:nvPr/>
        </p:nvGrpSpPr>
        <p:grpSpPr>
          <a:xfrm>
            <a:off x="753250" y="3590707"/>
            <a:ext cx="1505671" cy="470520"/>
            <a:chOff x="753250" y="3590707"/>
            <a:chExt cx="1505671" cy="470520"/>
          </a:xfrm>
        </p:grpSpPr>
        <p:grpSp>
          <p:nvGrpSpPr>
            <p:cNvPr id="16" name="组合 15"/>
            <p:cNvGrpSpPr/>
            <p:nvPr/>
          </p:nvGrpSpPr>
          <p:grpSpPr>
            <a:xfrm>
              <a:off x="753250" y="3590707"/>
              <a:ext cx="1505671" cy="427540"/>
              <a:chOff x="618056" y="3534557"/>
              <a:chExt cx="1505671" cy="427540"/>
            </a:xfrm>
          </p:grpSpPr>
          <p:sp>
            <p:nvSpPr>
              <p:cNvPr id="15" name="等腰三角形 14"/>
              <p:cNvSpPr/>
              <p:nvPr/>
            </p:nvSpPr>
            <p:spPr>
              <a:xfrm rot="13500000">
                <a:off x="546048" y="3606565"/>
                <a:ext cx="288032" cy="14401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14" name="矩形 13"/>
              <p:cNvSpPr/>
              <p:nvPr/>
            </p:nvSpPr>
            <p:spPr>
              <a:xfrm>
                <a:off x="638826" y="3674065"/>
                <a:ext cx="1484901" cy="2880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sp>
          <p:nvSpPr>
            <p:cNvPr id="17" name="矩形 16"/>
            <p:cNvSpPr/>
            <p:nvPr/>
          </p:nvSpPr>
          <p:spPr>
            <a:xfrm>
              <a:off x="827584" y="3722673"/>
              <a:ext cx="1415772" cy="338554"/>
            </a:xfrm>
            <a:prstGeom prst="rect">
              <a:avLst/>
            </a:prstGeom>
          </p:spPr>
          <p:txBody>
            <a:bodyPr wrap="none">
              <a:spAutoFit/>
            </a:bodyPr>
            <a:lstStyle/>
            <a:p>
              <a:pPr algn="ctr"/>
              <a:r>
                <a:rPr lang="zh-CN" altLang="en-US" sz="1600" dirty="0">
                  <a:solidFill>
                    <a:schemeClr val="bg1"/>
                  </a:solidFill>
                  <a:latin typeface="方正兰亭超细黑简体" panose="02000000000000000000" pitchFamily="2" charset="-122"/>
                  <a:ea typeface="方正兰亭超细黑简体" panose="02000000000000000000" pitchFamily="2" charset="-122"/>
                </a:rPr>
                <a:t>输入你的文本</a:t>
              </a:r>
            </a:p>
          </p:txBody>
        </p:sp>
      </p:grpSp>
      <p:grpSp>
        <p:nvGrpSpPr>
          <p:cNvPr id="18" name="组合 17"/>
          <p:cNvGrpSpPr/>
          <p:nvPr/>
        </p:nvGrpSpPr>
        <p:grpSpPr>
          <a:xfrm>
            <a:off x="2804610" y="3037520"/>
            <a:ext cx="216024" cy="216024"/>
            <a:chOff x="353857" y="3001516"/>
            <a:chExt cx="288032" cy="288032"/>
          </a:xfrm>
        </p:grpSpPr>
        <p:sp>
          <p:nvSpPr>
            <p:cNvPr id="19" name="椭圆 18"/>
            <p:cNvSpPr/>
            <p:nvPr/>
          </p:nvSpPr>
          <p:spPr>
            <a:xfrm>
              <a:off x="353857" y="3001516"/>
              <a:ext cx="288032" cy="28803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0" name="椭圆 19"/>
            <p:cNvSpPr/>
            <p:nvPr/>
          </p:nvSpPr>
          <p:spPr>
            <a:xfrm>
              <a:off x="407873" y="3055532"/>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sp>
        <p:nvSpPr>
          <p:cNvPr id="21" name="矩形 20"/>
          <p:cNvSpPr/>
          <p:nvPr/>
        </p:nvSpPr>
        <p:spPr>
          <a:xfrm>
            <a:off x="683569" y="4075944"/>
            <a:ext cx="1728192" cy="1311128"/>
          </a:xfrm>
          <a:prstGeom prst="rect">
            <a:avLst/>
          </a:prstGeom>
        </p:spPr>
        <p:txBody>
          <a:bodyPr wrap="square">
            <a:spAutoFit/>
          </a:bodyPr>
          <a:lstStyle/>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亮亮图文旗舰店</a:t>
            </a:r>
            <a:r>
              <a:rPr lang="en-US" altLang="zh-CN" sz="1000" dirty="0">
                <a:latin typeface="方正兰亭超细黑简体" panose="02000000000000000000" pitchFamily="2" charset="-122"/>
                <a:ea typeface="方正兰亭超细黑简体" panose="02000000000000000000" pitchFamily="2" charset="-122"/>
              </a:rPr>
              <a:t>https://liangliangtuwen.tmall.com</a:t>
            </a:r>
          </a:p>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你的文本文本输入你的文本输入文本输入</a:t>
            </a:r>
          </a:p>
          <a:p>
            <a:pPr algn="ct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nvGrpSpPr>
          <p:cNvPr id="5" name="组合 4"/>
          <p:cNvGrpSpPr/>
          <p:nvPr/>
        </p:nvGrpSpPr>
        <p:grpSpPr>
          <a:xfrm>
            <a:off x="2884320" y="2209428"/>
            <a:ext cx="1505671" cy="433610"/>
            <a:chOff x="2884320" y="2209428"/>
            <a:chExt cx="1505671" cy="433610"/>
          </a:xfrm>
        </p:grpSpPr>
        <p:grpSp>
          <p:nvGrpSpPr>
            <p:cNvPr id="22" name="组合 21"/>
            <p:cNvGrpSpPr/>
            <p:nvPr/>
          </p:nvGrpSpPr>
          <p:grpSpPr>
            <a:xfrm flipV="1">
              <a:off x="2884320" y="2215498"/>
              <a:ext cx="1505671" cy="427540"/>
              <a:chOff x="618056" y="3534557"/>
              <a:chExt cx="1505671" cy="427540"/>
            </a:xfrm>
          </p:grpSpPr>
          <p:sp>
            <p:nvSpPr>
              <p:cNvPr id="23" name="等腰三角形 22"/>
              <p:cNvSpPr/>
              <p:nvPr/>
            </p:nvSpPr>
            <p:spPr>
              <a:xfrm rot="13500000">
                <a:off x="546048" y="3606565"/>
                <a:ext cx="288032" cy="144016"/>
              </a:xfrm>
              <a:prstGeom prst="triangl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4" name="矩形 23"/>
              <p:cNvSpPr/>
              <p:nvPr/>
            </p:nvSpPr>
            <p:spPr>
              <a:xfrm>
                <a:off x="638826" y="3674065"/>
                <a:ext cx="1484901" cy="28803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sp>
          <p:nvSpPr>
            <p:cNvPr id="29" name="矩形 28"/>
            <p:cNvSpPr/>
            <p:nvPr/>
          </p:nvSpPr>
          <p:spPr>
            <a:xfrm>
              <a:off x="2939654" y="2209428"/>
              <a:ext cx="1415772" cy="338554"/>
            </a:xfrm>
            <a:prstGeom prst="rect">
              <a:avLst/>
            </a:prstGeom>
          </p:spPr>
          <p:txBody>
            <a:bodyPr wrap="none">
              <a:spAutoFit/>
            </a:bodyPr>
            <a:lstStyle/>
            <a:p>
              <a:pPr algn="ctr"/>
              <a:r>
                <a:rPr lang="zh-CN" altLang="en-US" sz="1600" dirty="0">
                  <a:solidFill>
                    <a:schemeClr val="bg1"/>
                  </a:solidFill>
                  <a:latin typeface="方正兰亭超细黑简体" panose="02000000000000000000" pitchFamily="2" charset="-122"/>
                  <a:ea typeface="方正兰亭超细黑简体" panose="02000000000000000000" pitchFamily="2" charset="-122"/>
                </a:rPr>
                <a:t>输入你的文本</a:t>
              </a:r>
            </a:p>
          </p:txBody>
        </p:sp>
      </p:grpSp>
      <p:sp>
        <p:nvSpPr>
          <p:cNvPr id="30" name="矩形 29"/>
          <p:cNvSpPr/>
          <p:nvPr/>
        </p:nvSpPr>
        <p:spPr>
          <a:xfrm>
            <a:off x="2771800" y="1405279"/>
            <a:ext cx="1728192" cy="830997"/>
          </a:xfrm>
          <a:prstGeom prst="rect">
            <a:avLst/>
          </a:prstGeom>
        </p:spPr>
        <p:txBody>
          <a:bodyPr wrap="square">
            <a:spAutoFit/>
          </a:bodyPr>
          <a:lstStyle/>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文本输入你的文本输入文本输入</a:t>
            </a:r>
          </a:p>
        </p:txBody>
      </p:sp>
      <p:grpSp>
        <p:nvGrpSpPr>
          <p:cNvPr id="31" name="组合 30"/>
          <p:cNvGrpSpPr/>
          <p:nvPr/>
        </p:nvGrpSpPr>
        <p:grpSpPr>
          <a:xfrm>
            <a:off x="7046695" y="3043456"/>
            <a:ext cx="216024" cy="216024"/>
            <a:chOff x="353857" y="3001516"/>
            <a:chExt cx="288032" cy="288032"/>
          </a:xfrm>
        </p:grpSpPr>
        <p:sp>
          <p:nvSpPr>
            <p:cNvPr id="32" name="椭圆 31"/>
            <p:cNvSpPr/>
            <p:nvPr/>
          </p:nvSpPr>
          <p:spPr>
            <a:xfrm>
              <a:off x="353857" y="3001516"/>
              <a:ext cx="288032" cy="288032"/>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33" name="椭圆 32"/>
            <p:cNvSpPr/>
            <p:nvPr/>
          </p:nvSpPr>
          <p:spPr>
            <a:xfrm>
              <a:off x="407873" y="3055532"/>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7" name="组合 6"/>
          <p:cNvGrpSpPr/>
          <p:nvPr/>
        </p:nvGrpSpPr>
        <p:grpSpPr>
          <a:xfrm>
            <a:off x="7087207" y="2199045"/>
            <a:ext cx="1505671" cy="443993"/>
            <a:chOff x="7087207" y="2199045"/>
            <a:chExt cx="1505671" cy="443993"/>
          </a:xfrm>
        </p:grpSpPr>
        <p:grpSp>
          <p:nvGrpSpPr>
            <p:cNvPr id="34" name="组合 33"/>
            <p:cNvGrpSpPr/>
            <p:nvPr/>
          </p:nvGrpSpPr>
          <p:grpSpPr>
            <a:xfrm flipV="1">
              <a:off x="7087207" y="2215498"/>
              <a:ext cx="1505671" cy="427540"/>
              <a:chOff x="618056" y="3534557"/>
              <a:chExt cx="1505671" cy="427540"/>
            </a:xfrm>
          </p:grpSpPr>
          <p:sp>
            <p:nvSpPr>
              <p:cNvPr id="35" name="等腰三角形 34"/>
              <p:cNvSpPr/>
              <p:nvPr/>
            </p:nvSpPr>
            <p:spPr>
              <a:xfrm rot="13500000">
                <a:off x="546048" y="3606565"/>
                <a:ext cx="288032" cy="144016"/>
              </a:xfrm>
              <a:prstGeom prst="triangl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36" name="矩形 35"/>
              <p:cNvSpPr/>
              <p:nvPr/>
            </p:nvSpPr>
            <p:spPr>
              <a:xfrm>
                <a:off x="638826" y="3674065"/>
                <a:ext cx="1484901" cy="28803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sp>
          <p:nvSpPr>
            <p:cNvPr id="37" name="矩形 36"/>
            <p:cNvSpPr/>
            <p:nvPr/>
          </p:nvSpPr>
          <p:spPr>
            <a:xfrm>
              <a:off x="7142541" y="2199045"/>
              <a:ext cx="1415772" cy="338554"/>
            </a:xfrm>
            <a:prstGeom prst="rect">
              <a:avLst/>
            </a:prstGeom>
          </p:spPr>
          <p:txBody>
            <a:bodyPr wrap="none">
              <a:spAutoFit/>
            </a:bodyPr>
            <a:lstStyle/>
            <a:p>
              <a:pPr algn="ctr"/>
              <a:r>
                <a:rPr lang="zh-CN" altLang="en-US" sz="1600" dirty="0">
                  <a:solidFill>
                    <a:schemeClr val="bg1"/>
                  </a:solidFill>
                  <a:latin typeface="方正兰亭超细黑简体" panose="02000000000000000000" pitchFamily="2" charset="-122"/>
                  <a:ea typeface="方正兰亭超细黑简体" panose="02000000000000000000" pitchFamily="2" charset="-122"/>
                </a:rPr>
                <a:t>输入你的文本</a:t>
              </a:r>
            </a:p>
          </p:txBody>
        </p:sp>
      </p:grpSp>
      <p:sp>
        <p:nvSpPr>
          <p:cNvPr id="38" name="矩形 37"/>
          <p:cNvSpPr/>
          <p:nvPr/>
        </p:nvSpPr>
        <p:spPr>
          <a:xfrm>
            <a:off x="6986331" y="1405279"/>
            <a:ext cx="1728192" cy="830997"/>
          </a:xfrm>
          <a:prstGeom prst="rect">
            <a:avLst/>
          </a:prstGeom>
        </p:spPr>
        <p:txBody>
          <a:bodyPr wrap="square">
            <a:spAutoFit/>
          </a:bodyPr>
          <a:lstStyle/>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文本输入你的文本输入文本输入</a:t>
            </a:r>
          </a:p>
        </p:txBody>
      </p:sp>
      <p:grpSp>
        <p:nvGrpSpPr>
          <p:cNvPr id="39" name="组合 38"/>
          <p:cNvGrpSpPr/>
          <p:nvPr/>
        </p:nvGrpSpPr>
        <p:grpSpPr>
          <a:xfrm>
            <a:off x="4925652" y="3037520"/>
            <a:ext cx="216024" cy="216024"/>
            <a:chOff x="353857" y="3001516"/>
            <a:chExt cx="288032" cy="288032"/>
          </a:xfrm>
        </p:grpSpPr>
        <p:sp>
          <p:nvSpPr>
            <p:cNvPr id="40" name="椭圆 39"/>
            <p:cNvSpPr/>
            <p:nvPr/>
          </p:nvSpPr>
          <p:spPr>
            <a:xfrm>
              <a:off x="353857" y="3001516"/>
              <a:ext cx="288032" cy="288032"/>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41" name="椭圆 40"/>
            <p:cNvSpPr/>
            <p:nvPr/>
          </p:nvSpPr>
          <p:spPr>
            <a:xfrm>
              <a:off x="407873" y="3055532"/>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6" name="组合 5"/>
          <p:cNvGrpSpPr/>
          <p:nvPr/>
        </p:nvGrpSpPr>
        <p:grpSpPr>
          <a:xfrm>
            <a:off x="5001721" y="3590707"/>
            <a:ext cx="1505671" cy="470520"/>
            <a:chOff x="5001721" y="3590707"/>
            <a:chExt cx="1505671" cy="470520"/>
          </a:xfrm>
        </p:grpSpPr>
        <p:grpSp>
          <p:nvGrpSpPr>
            <p:cNvPr id="42" name="组合 41"/>
            <p:cNvGrpSpPr/>
            <p:nvPr/>
          </p:nvGrpSpPr>
          <p:grpSpPr>
            <a:xfrm>
              <a:off x="5001721" y="3590707"/>
              <a:ext cx="1505671" cy="427540"/>
              <a:chOff x="618056" y="3534557"/>
              <a:chExt cx="1505671" cy="427540"/>
            </a:xfrm>
          </p:grpSpPr>
          <p:sp>
            <p:nvSpPr>
              <p:cNvPr id="43" name="等腰三角形 42"/>
              <p:cNvSpPr/>
              <p:nvPr/>
            </p:nvSpPr>
            <p:spPr>
              <a:xfrm rot="13500000">
                <a:off x="546048" y="3606565"/>
                <a:ext cx="288032" cy="144016"/>
              </a:xfrm>
              <a:prstGeom prst="triangl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44" name="矩形 43"/>
              <p:cNvSpPr/>
              <p:nvPr/>
            </p:nvSpPr>
            <p:spPr>
              <a:xfrm>
                <a:off x="638826" y="3674065"/>
                <a:ext cx="1484901" cy="28803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sp>
          <p:nvSpPr>
            <p:cNvPr id="45" name="矩形 44"/>
            <p:cNvSpPr/>
            <p:nvPr/>
          </p:nvSpPr>
          <p:spPr>
            <a:xfrm>
              <a:off x="5076055" y="3722673"/>
              <a:ext cx="1415772" cy="338554"/>
            </a:xfrm>
            <a:prstGeom prst="rect">
              <a:avLst/>
            </a:prstGeom>
          </p:spPr>
          <p:txBody>
            <a:bodyPr wrap="none">
              <a:spAutoFit/>
            </a:bodyPr>
            <a:lstStyle/>
            <a:p>
              <a:pPr algn="ctr"/>
              <a:r>
                <a:rPr lang="zh-CN" altLang="en-US" sz="1600" dirty="0">
                  <a:solidFill>
                    <a:schemeClr val="bg1"/>
                  </a:solidFill>
                  <a:latin typeface="方正兰亭超细黑简体" panose="02000000000000000000" pitchFamily="2" charset="-122"/>
                  <a:ea typeface="方正兰亭超细黑简体" panose="02000000000000000000" pitchFamily="2" charset="-122"/>
                </a:rPr>
                <a:t>输入你的文本</a:t>
              </a:r>
            </a:p>
          </p:txBody>
        </p:sp>
      </p:grpSp>
      <p:sp>
        <p:nvSpPr>
          <p:cNvPr id="46" name="矩形 45"/>
          <p:cNvSpPr/>
          <p:nvPr/>
        </p:nvSpPr>
        <p:spPr>
          <a:xfrm>
            <a:off x="4932040" y="4075944"/>
            <a:ext cx="1728192" cy="941796"/>
          </a:xfrm>
          <a:prstGeom prst="rect">
            <a:avLst/>
          </a:prstGeom>
        </p:spPr>
        <p:txBody>
          <a:bodyPr wrap="square">
            <a:spAutoFit/>
          </a:bodyPr>
          <a:lstStyle/>
          <a:p>
            <a:pPr algn="ct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文本输入你的文本输入文本输入</a:t>
            </a:r>
          </a:p>
          <a:p>
            <a:pPr algn="ct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cxnSp>
        <p:nvCxnSpPr>
          <p:cNvPr id="50" name="直接连接符 49"/>
          <p:cNvCxnSpPr>
            <a:stCxn id="19" idx="0"/>
          </p:cNvCxnSpPr>
          <p:nvPr/>
        </p:nvCxnSpPr>
        <p:spPr>
          <a:xfrm flipV="1">
            <a:off x="2912622" y="2723783"/>
            <a:ext cx="0" cy="313737"/>
          </a:xfrm>
          <a:prstGeom prst="line">
            <a:avLst/>
          </a:prstGeom>
          <a:ln>
            <a:solidFill>
              <a:schemeClr val="tx1">
                <a:lumMod val="75000"/>
                <a:lumOff val="25000"/>
              </a:schemeClr>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51" name="直接连接符 50"/>
          <p:cNvCxnSpPr/>
          <p:nvPr/>
        </p:nvCxnSpPr>
        <p:spPr>
          <a:xfrm flipV="1">
            <a:off x="774020" y="3213032"/>
            <a:ext cx="0" cy="313737"/>
          </a:xfrm>
          <a:prstGeom prst="line">
            <a:avLst/>
          </a:prstGeom>
          <a:ln>
            <a:solidFill>
              <a:schemeClr val="tx1">
                <a:lumMod val="75000"/>
                <a:lumOff val="25000"/>
              </a:schemeClr>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flipV="1">
            <a:off x="7142541" y="2723783"/>
            <a:ext cx="0" cy="313737"/>
          </a:xfrm>
          <a:prstGeom prst="line">
            <a:avLst/>
          </a:prstGeom>
          <a:ln>
            <a:solidFill>
              <a:schemeClr val="tx1">
                <a:lumMod val="75000"/>
                <a:lumOff val="25000"/>
              </a:schemeClr>
            </a:solidFill>
            <a:prstDash val="sysDash"/>
            <a:tailEnd type="oval"/>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flipV="1">
            <a:off x="5003939" y="3213032"/>
            <a:ext cx="0" cy="313737"/>
          </a:xfrm>
          <a:prstGeom prst="line">
            <a:avLst/>
          </a:prstGeom>
          <a:ln>
            <a:solidFill>
              <a:schemeClr val="tx1">
                <a:lumMod val="75000"/>
                <a:lumOff val="25000"/>
              </a:schemeClr>
            </a:solidFill>
            <a:prstDash val="sysDash"/>
            <a:headEnd type="oval"/>
            <a:tailEnd type="non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p:cTn id="11" dur="500" fill="hold"/>
                                        <p:tgtEl>
                                          <p:spTgt spid="12"/>
                                        </p:tgtEl>
                                        <p:attrNameLst>
                                          <p:attrName>ppt_w</p:attrName>
                                        </p:attrNameLst>
                                      </p:cBhvr>
                                      <p:tavLst>
                                        <p:tav tm="0">
                                          <p:val>
                                            <p:fltVal val="0"/>
                                          </p:val>
                                        </p:tav>
                                        <p:tav tm="100000">
                                          <p:val>
                                            <p:strVal val="#ppt_w"/>
                                          </p:val>
                                        </p:tav>
                                      </p:tavLst>
                                    </p:anim>
                                    <p:anim calcmode="lin" valueType="num">
                                      <p:cBhvr>
                                        <p:cTn id="12" dur="500" fill="hold"/>
                                        <p:tgtEl>
                                          <p:spTgt spid="12"/>
                                        </p:tgtEl>
                                        <p:attrNameLst>
                                          <p:attrName>ppt_h</p:attrName>
                                        </p:attrNameLst>
                                      </p:cBhvr>
                                      <p:tavLst>
                                        <p:tav tm="0">
                                          <p:val>
                                            <p:fltVal val="0"/>
                                          </p:val>
                                        </p:tav>
                                        <p:tav tm="100000">
                                          <p:val>
                                            <p:strVal val="#ppt_h"/>
                                          </p:val>
                                        </p:tav>
                                      </p:tavLst>
                                    </p:anim>
                                    <p:animEffect transition="in" filter="fade">
                                      <p:cBhvr>
                                        <p:cTn id="13" dur="500"/>
                                        <p:tgtEl>
                                          <p:spTgt spid="12"/>
                                        </p:tgtEl>
                                      </p:cBhvr>
                                    </p:animEffec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wipe(up)">
                                      <p:cBhvr>
                                        <p:cTn id="17" dur="500"/>
                                        <p:tgtEl>
                                          <p:spTgt spid="51"/>
                                        </p:tgtEl>
                                      </p:cBhvr>
                                    </p:animEffect>
                                  </p:childTnLst>
                                </p:cTn>
                              </p:par>
                            </p:childTnLst>
                          </p:cTn>
                        </p:par>
                        <p:par>
                          <p:cTn id="18" fill="hold">
                            <p:stCondLst>
                              <p:cond delay="1500"/>
                            </p:stCondLst>
                            <p:childTnLst>
                              <p:par>
                                <p:cTn id="19" presetID="2" presetClass="entr" presetSubtype="4" decel="32000" fill="hold" nodeType="after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additive="base">
                                        <p:cTn id="21" dur="500" fill="hold"/>
                                        <p:tgtEl>
                                          <p:spTgt spid="2"/>
                                        </p:tgtEl>
                                        <p:attrNameLst>
                                          <p:attrName>ppt_x</p:attrName>
                                        </p:attrNameLst>
                                      </p:cBhvr>
                                      <p:tavLst>
                                        <p:tav tm="0">
                                          <p:val>
                                            <p:strVal val="#ppt_x"/>
                                          </p:val>
                                        </p:tav>
                                        <p:tav tm="100000">
                                          <p:val>
                                            <p:strVal val="#ppt_x"/>
                                          </p:val>
                                        </p:tav>
                                      </p:tavLst>
                                    </p:anim>
                                    <p:anim calcmode="lin" valueType="num">
                                      <p:cBhvr additive="base">
                                        <p:cTn id="22" dur="500" fill="hold"/>
                                        <p:tgtEl>
                                          <p:spTgt spid="2"/>
                                        </p:tgtEl>
                                        <p:attrNameLst>
                                          <p:attrName>ppt_y</p:attrName>
                                        </p:attrNameLst>
                                      </p:cBhvr>
                                      <p:tavLst>
                                        <p:tav tm="0">
                                          <p:val>
                                            <p:strVal val="1+#ppt_h/2"/>
                                          </p:val>
                                        </p:tav>
                                        <p:tav tm="100000">
                                          <p:val>
                                            <p:strVal val="#ppt_y"/>
                                          </p:val>
                                        </p:tav>
                                      </p:tavLst>
                                    </p:anim>
                                  </p:childTnLst>
                                </p:cTn>
                              </p:par>
                              <p:par>
                                <p:cTn id="23" presetID="2" presetClass="entr" presetSubtype="1" decel="3200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500" fill="hold"/>
                                        <p:tgtEl>
                                          <p:spTgt spid="21"/>
                                        </p:tgtEl>
                                        <p:attrNameLst>
                                          <p:attrName>ppt_x</p:attrName>
                                        </p:attrNameLst>
                                      </p:cBhvr>
                                      <p:tavLst>
                                        <p:tav tm="0">
                                          <p:val>
                                            <p:strVal val="#ppt_x"/>
                                          </p:val>
                                        </p:tav>
                                        <p:tav tm="100000">
                                          <p:val>
                                            <p:strVal val="#ppt_x"/>
                                          </p:val>
                                        </p:tav>
                                      </p:tavLst>
                                    </p:anim>
                                    <p:anim calcmode="lin" valueType="num">
                                      <p:cBhvr additive="base">
                                        <p:cTn id="26" dur="500" fill="hold"/>
                                        <p:tgtEl>
                                          <p:spTgt spid="21"/>
                                        </p:tgtEl>
                                        <p:attrNameLst>
                                          <p:attrName>ppt_y</p:attrName>
                                        </p:attrNameLst>
                                      </p:cBhvr>
                                      <p:tavLst>
                                        <p:tav tm="0">
                                          <p:val>
                                            <p:strVal val="0-#ppt_h/2"/>
                                          </p:val>
                                        </p:tav>
                                        <p:tav tm="100000">
                                          <p:val>
                                            <p:strVal val="#ppt_y"/>
                                          </p:val>
                                        </p:tav>
                                      </p:tavLst>
                                    </p:anim>
                                  </p:childTnLst>
                                </p:cTn>
                              </p:par>
                            </p:childTnLst>
                          </p:cTn>
                        </p:par>
                        <p:par>
                          <p:cTn id="27" fill="hold">
                            <p:stCondLst>
                              <p:cond delay="2000"/>
                            </p:stCondLst>
                            <p:childTnLst>
                              <p:par>
                                <p:cTn id="28" presetID="53" presetClass="entr" presetSubtype="16" fill="hold" nodeType="afterEffect">
                                  <p:stCondLst>
                                    <p:cond delay="0"/>
                                  </p:stCondLst>
                                  <p:childTnLst>
                                    <p:set>
                                      <p:cBhvr>
                                        <p:cTn id="29" dur="1" fill="hold">
                                          <p:stCondLst>
                                            <p:cond delay="0"/>
                                          </p:stCondLst>
                                        </p:cTn>
                                        <p:tgtEl>
                                          <p:spTgt spid="18"/>
                                        </p:tgtEl>
                                        <p:attrNameLst>
                                          <p:attrName>style.visibility</p:attrName>
                                        </p:attrNameLst>
                                      </p:cBhvr>
                                      <p:to>
                                        <p:strVal val="visible"/>
                                      </p:to>
                                    </p:set>
                                    <p:anim calcmode="lin" valueType="num">
                                      <p:cBhvr>
                                        <p:cTn id="30" dur="500" fill="hold"/>
                                        <p:tgtEl>
                                          <p:spTgt spid="18"/>
                                        </p:tgtEl>
                                        <p:attrNameLst>
                                          <p:attrName>ppt_w</p:attrName>
                                        </p:attrNameLst>
                                      </p:cBhvr>
                                      <p:tavLst>
                                        <p:tav tm="0">
                                          <p:val>
                                            <p:fltVal val="0"/>
                                          </p:val>
                                        </p:tav>
                                        <p:tav tm="100000">
                                          <p:val>
                                            <p:strVal val="#ppt_w"/>
                                          </p:val>
                                        </p:tav>
                                      </p:tavLst>
                                    </p:anim>
                                    <p:anim calcmode="lin" valueType="num">
                                      <p:cBhvr>
                                        <p:cTn id="31" dur="500" fill="hold"/>
                                        <p:tgtEl>
                                          <p:spTgt spid="18"/>
                                        </p:tgtEl>
                                        <p:attrNameLst>
                                          <p:attrName>ppt_h</p:attrName>
                                        </p:attrNameLst>
                                      </p:cBhvr>
                                      <p:tavLst>
                                        <p:tav tm="0">
                                          <p:val>
                                            <p:fltVal val="0"/>
                                          </p:val>
                                        </p:tav>
                                        <p:tav tm="100000">
                                          <p:val>
                                            <p:strVal val="#ppt_h"/>
                                          </p:val>
                                        </p:tav>
                                      </p:tavLst>
                                    </p:anim>
                                    <p:animEffect transition="in" filter="fade">
                                      <p:cBhvr>
                                        <p:cTn id="32" dur="500"/>
                                        <p:tgtEl>
                                          <p:spTgt spid="18"/>
                                        </p:tgtEl>
                                      </p:cBhvr>
                                    </p:animEffect>
                                  </p:childTnLst>
                                </p:cTn>
                              </p:par>
                            </p:childTnLst>
                          </p:cTn>
                        </p:par>
                        <p:par>
                          <p:cTn id="33" fill="hold">
                            <p:stCondLst>
                              <p:cond delay="2500"/>
                            </p:stCondLst>
                            <p:childTnLst>
                              <p:par>
                                <p:cTn id="34" presetID="22" presetClass="entr" presetSubtype="4" fill="hold" nodeType="after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wipe(down)">
                                      <p:cBhvr>
                                        <p:cTn id="36" dur="500"/>
                                        <p:tgtEl>
                                          <p:spTgt spid="50"/>
                                        </p:tgtEl>
                                      </p:cBhvr>
                                    </p:animEffect>
                                  </p:childTnLst>
                                </p:cTn>
                              </p:par>
                            </p:childTnLst>
                          </p:cTn>
                        </p:par>
                        <p:par>
                          <p:cTn id="37" fill="hold">
                            <p:stCondLst>
                              <p:cond delay="3000"/>
                            </p:stCondLst>
                            <p:childTnLst>
                              <p:par>
                                <p:cTn id="38" presetID="2" presetClass="entr" presetSubtype="1" decel="32000" fill="hold" nodeType="afterEffect">
                                  <p:stCondLst>
                                    <p:cond delay="0"/>
                                  </p:stCondLst>
                                  <p:childTnLst>
                                    <p:set>
                                      <p:cBhvr>
                                        <p:cTn id="39" dur="1" fill="hold">
                                          <p:stCondLst>
                                            <p:cond delay="0"/>
                                          </p:stCondLst>
                                        </p:cTn>
                                        <p:tgtEl>
                                          <p:spTgt spid="5"/>
                                        </p:tgtEl>
                                        <p:attrNameLst>
                                          <p:attrName>style.visibility</p:attrName>
                                        </p:attrNameLst>
                                      </p:cBhvr>
                                      <p:to>
                                        <p:strVal val="visible"/>
                                      </p:to>
                                    </p:set>
                                    <p:anim calcmode="lin" valueType="num">
                                      <p:cBhvr additive="base">
                                        <p:cTn id="40" dur="500" fill="hold"/>
                                        <p:tgtEl>
                                          <p:spTgt spid="5"/>
                                        </p:tgtEl>
                                        <p:attrNameLst>
                                          <p:attrName>ppt_x</p:attrName>
                                        </p:attrNameLst>
                                      </p:cBhvr>
                                      <p:tavLst>
                                        <p:tav tm="0">
                                          <p:val>
                                            <p:strVal val="#ppt_x"/>
                                          </p:val>
                                        </p:tav>
                                        <p:tav tm="100000">
                                          <p:val>
                                            <p:strVal val="#ppt_x"/>
                                          </p:val>
                                        </p:tav>
                                      </p:tavLst>
                                    </p:anim>
                                    <p:anim calcmode="lin" valueType="num">
                                      <p:cBhvr additive="base">
                                        <p:cTn id="41" dur="500" fill="hold"/>
                                        <p:tgtEl>
                                          <p:spTgt spid="5"/>
                                        </p:tgtEl>
                                        <p:attrNameLst>
                                          <p:attrName>ppt_y</p:attrName>
                                        </p:attrNameLst>
                                      </p:cBhvr>
                                      <p:tavLst>
                                        <p:tav tm="0">
                                          <p:val>
                                            <p:strVal val="0-#ppt_h/2"/>
                                          </p:val>
                                        </p:tav>
                                        <p:tav tm="100000">
                                          <p:val>
                                            <p:strVal val="#ppt_y"/>
                                          </p:val>
                                        </p:tav>
                                      </p:tavLst>
                                    </p:anim>
                                  </p:childTnLst>
                                </p:cTn>
                              </p:par>
                              <p:par>
                                <p:cTn id="42" presetID="2" presetClass="entr" presetSubtype="4" decel="3200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 calcmode="lin" valueType="num">
                                      <p:cBhvr additive="base">
                                        <p:cTn id="44" dur="500" fill="hold"/>
                                        <p:tgtEl>
                                          <p:spTgt spid="30"/>
                                        </p:tgtEl>
                                        <p:attrNameLst>
                                          <p:attrName>ppt_x</p:attrName>
                                        </p:attrNameLst>
                                      </p:cBhvr>
                                      <p:tavLst>
                                        <p:tav tm="0">
                                          <p:val>
                                            <p:strVal val="#ppt_x"/>
                                          </p:val>
                                        </p:tav>
                                        <p:tav tm="100000">
                                          <p:val>
                                            <p:strVal val="#ppt_x"/>
                                          </p:val>
                                        </p:tav>
                                      </p:tavLst>
                                    </p:anim>
                                    <p:anim calcmode="lin" valueType="num">
                                      <p:cBhvr additive="base">
                                        <p:cTn id="45" dur="500" fill="hold"/>
                                        <p:tgtEl>
                                          <p:spTgt spid="30"/>
                                        </p:tgtEl>
                                        <p:attrNameLst>
                                          <p:attrName>ppt_y</p:attrName>
                                        </p:attrNameLst>
                                      </p:cBhvr>
                                      <p:tavLst>
                                        <p:tav tm="0">
                                          <p:val>
                                            <p:strVal val="1+#ppt_h/2"/>
                                          </p:val>
                                        </p:tav>
                                        <p:tav tm="100000">
                                          <p:val>
                                            <p:strVal val="#ppt_y"/>
                                          </p:val>
                                        </p:tav>
                                      </p:tavLst>
                                    </p:anim>
                                  </p:childTnLst>
                                </p:cTn>
                              </p:par>
                            </p:childTnLst>
                          </p:cTn>
                        </p:par>
                        <p:par>
                          <p:cTn id="46" fill="hold">
                            <p:stCondLst>
                              <p:cond delay="3500"/>
                            </p:stCondLst>
                            <p:childTnLst>
                              <p:par>
                                <p:cTn id="47" presetID="53" presetClass="entr" presetSubtype="16" fill="hold" nodeType="afterEffect">
                                  <p:stCondLst>
                                    <p:cond delay="0"/>
                                  </p:stCondLst>
                                  <p:childTnLst>
                                    <p:set>
                                      <p:cBhvr>
                                        <p:cTn id="48" dur="1" fill="hold">
                                          <p:stCondLst>
                                            <p:cond delay="0"/>
                                          </p:stCondLst>
                                        </p:cTn>
                                        <p:tgtEl>
                                          <p:spTgt spid="39"/>
                                        </p:tgtEl>
                                        <p:attrNameLst>
                                          <p:attrName>style.visibility</p:attrName>
                                        </p:attrNameLst>
                                      </p:cBhvr>
                                      <p:to>
                                        <p:strVal val="visible"/>
                                      </p:to>
                                    </p:set>
                                    <p:anim calcmode="lin" valueType="num">
                                      <p:cBhvr>
                                        <p:cTn id="49" dur="500" fill="hold"/>
                                        <p:tgtEl>
                                          <p:spTgt spid="39"/>
                                        </p:tgtEl>
                                        <p:attrNameLst>
                                          <p:attrName>ppt_w</p:attrName>
                                        </p:attrNameLst>
                                      </p:cBhvr>
                                      <p:tavLst>
                                        <p:tav tm="0">
                                          <p:val>
                                            <p:fltVal val="0"/>
                                          </p:val>
                                        </p:tav>
                                        <p:tav tm="100000">
                                          <p:val>
                                            <p:strVal val="#ppt_w"/>
                                          </p:val>
                                        </p:tav>
                                      </p:tavLst>
                                    </p:anim>
                                    <p:anim calcmode="lin" valueType="num">
                                      <p:cBhvr>
                                        <p:cTn id="50" dur="500" fill="hold"/>
                                        <p:tgtEl>
                                          <p:spTgt spid="39"/>
                                        </p:tgtEl>
                                        <p:attrNameLst>
                                          <p:attrName>ppt_h</p:attrName>
                                        </p:attrNameLst>
                                      </p:cBhvr>
                                      <p:tavLst>
                                        <p:tav tm="0">
                                          <p:val>
                                            <p:fltVal val="0"/>
                                          </p:val>
                                        </p:tav>
                                        <p:tav tm="100000">
                                          <p:val>
                                            <p:strVal val="#ppt_h"/>
                                          </p:val>
                                        </p:tav>
                                      </p:tavLst>
                                    </p:anim>
                                    <p:animEffect transition="in" filter="fade">
                                      <p:cBhvr>
                                        <p:cTn id="51" dur="500"/>
                                        <p:tgtEl>
                                          <p:spTgt spid="39"/>
                                        </p:tgtEl>
                                      </p:cBhvr>
                                    </p:animEffect>
                                  </p:childTnLst>
                                </p:cTn>
                              </p:par>
                            </p:childTnLst>
                          </p:cTn>
                        </p:par>
                        <p:par>
                          <p:cTn id="52" fill="hold">
                            <p:stCondLst>
                              <p:cond delay="4000"/>
                            </p:stCondLst>
                            <p:childTnLst>
                              <p:par>
                                <p:cTn id="53" presetID="22" presetClass="entr" presetSubtype="1" fill="hold" nodeType="afterEffect">
                                  <p:stCondLst>
                                    <p:cond delay="0"/>
                                  </p:stCondLst>
                                  <p:childTnLst>
                                    <p:set>
                                      <p:cBhvr>
                                        <p:cTn id="54" dur="1" fill="hold">
                                          <p:stCondLst>
                                            <p:cond delay="0"/>
                                          </p:stCondLst>
                                        </p:cTn>
                                        <p:tgtEl>
                                          <p:spTgt spid="53"/>
                                        </p:tgtEl>
                                        <p:attrNameLst>
                                          <p:attrName>style.visibility</p:attrName>
                                        </p:attrNameLst>
                                      </p:cBhvr>
                                      <p:to>
                                        <p:strVal val="visible"/>
                                      </p:to>
                                    </p:set>
                                    <p:animEffect transition="in" filter="wipe(up)">
                                      <p:cBhvr>
                                        <p:cTn id="55" dur="500"/>
                                        <p:tgtEl>
                                          <p:spTgt spid="53"/>
                                        </p:tgtEl>
                                      </p:cBhvr>
                                    </p:animEffect>
                                  </p:childTnLst>
                                </p:cTn>
                              </p:par>
                            </p:childTnLst>
                          </p:cTn>
                        </p:par>
                        <p:par>
                          <p:cTn id="56" fill="hold">
                            <p:stCondLst>
                              <p:cond delay="4500"/>
                            </p:stCondLst>
                            <p:childTnLst>
                              <p:par>
                                <p:cTn id="57" presetID="2" presetClass="entr" presetSubtype="4" decel="32000" fill="hold" nodeType="afterEffect">
                                  <p:stCondLst>
                                    <p:cond delay="0"/>
                                  </p:stCondLst>
                                  <p:childTnLst>
                                    <p:set>
                                      <p:cBhvr>
                                        <p:cTn id="58" dur="1" fill="hold">
                                          <p:stCondLst>
                                            <p:cond delay="0"/>
                                          </p:stCondLst>
                                        </p:cTn>
                                        <p:tgtEl>
                                          <p:spTgt spid="6"/>
                                        </p:tgtEl>
                                        <p:attrNameLst>
                                          <p:attrName>style.visibility</p:attrName>
                                        </p:attrNameLst>
                                      </p:cBhvr>
                                      <p:to>
                                        <p:strVal val="visible"/>
                                      </p:to>
                                    </p:set>
                                    <p:anim calcmode="lin" valueType="num">
                                      <p:cBhvr additive="base">
                                        <p:cTn id="59" dur="500" fill="hold"/>
                                        <p:tgtEl>
                                          <p:spTgt spid="6"/>
                                        </p:tgtEl>
                                        <p:attrNameLst>
                                          <p:attrName>ppt_x</p:attrName>
                                        </p:attrNameLst>
                                      </p:cBhvr>
                                      <p:tavLst>
                                        <p:tav tm="0">
                                          <p:val>
                                            <p:strVal val="#ppt_x"/>
                                          </p:val>
                                        </p:tav>
                                        <p:tav tm="100000">
                                          <p:val>
                                            <p:strVal val="#ppt_x"/>
                                          </p:val>
                                        </p:tav>
                                      </p:tavLst>
                                    </p:anim>
                                    <p:anim calcmode="lin" valueType="num">
                                      <p:cBhvr additive="base">
                                        <p:cTn id="60" dur="500" fill="hold"/>
                                        <p:tgtEl>
                                          <p:spTgt spid="6"/>
                                        </p:tgtEl>
                                        <p:attrNameLst>
                                          <p:attrName>ppt_y</p:attrName>
                                        </p:attrNameLst>
                                      </p:cBhvr>
                                      <p:tavLst>
                                        <p:tav tm="0">
                                          <p:val>
                                            <p:strVal val="1+#ppt_h/2"/>
                                          </p:val>
                                        </p:tav>
                                        <p:tav tm="100000">
                                          <p:val>
                                            <p:strVal val="#ppt_y"/>
                                          </p:val>
                                        </p:tav>
                                      </p:tavLst>
                                    </p:anim>
                                  </p:childTnLst>
                                </p:cTn>
                              </p:par>
                              <p:par>
                                <p:cTn id="61" presetID="2" presetClass="entr" presetSubtype="1" decel="3200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 calcmode="lin" valueType="num">
                                      <p:cBhvr additive="base">
                                        <p:cTn id="63" dur="500" fill="hold"/>
                                        <p:tgtEl>
                                          <p:spTgt spid="46"/>
                                        </p:tgtEl>
                                        <p:attrNameLst>
                                          <p:attrName>ppt_x</p:attrName>
                                        </p:attrNameLst>
                                      </p:cBhvr>
                                      <p:tavLst>
                                        <p:tav tm="0">
                                          <p:val>
                                            <p:strVal val="#ppt_x"/>
                                          </p:val>
                                        </p:tav>
                                        <p:tav tm="100000">
                                          <p:val>
                                            <p:strVal val="#ppt_x"/>
                                          </p:val>
                                        </p:tav>
                                      </p:tavLst>
                                    </p:anim>
                                    <p:anim calcmode="lin" valueType="num">
                                      <p:cBhvr additive="base">
                                        <p:cTn id="64" dur="500" fill="hold"/>
                                        <p:tgtEl>
                                          <p:spTgt spid="46"/>
                                        </p:tgtEl>
                                        <p:attrNameLst>
                                          <p:attrName>ppt_y</p:attrName>
                                        </p:attrNameLst>
                                      </p:cBhvr>
                                      <p:tavLst>
                                        <p:tav tm="0">
                                          <p:val>
                                            <p:strVal val="0-#ppt_h/2"/>
                                          </p:val>
                                        </p:tav>
                                        <p:tav tm="100000">
                                          <p:val>
                                            <p:strVal val="#ppt_y"/>
                                          </p:val>
                                        </p:tav>
                                      </p:tavLst>
                                    </p:anim>
                                  </p:childTnLst>
                                </p:cTn>
                              </p:par>
                            </p:childTnLst>
                          </p:cTn>
                        </p:par>
                        <p:par>
                          <p:cTn id="65" fill="hold">
                            <p:stCondLst>
                              <p:cond delay="5000"/>
                            </p:stCondLst>
                            <p:childTnLst>
                              <p:par>
                                <p:cTn id="66" presetID="53" presetClass="entr" presetSubtype="16" fill="hold" nodeType="afterEffect">
                                  <p:stCondLst>
                                    <p:cond delay="0"/>
                                  </p:stCondLst>
                                  <p:childTnLst>
                                    <p:set>
                                      <p:cBhvr>
                                        <p:cTn id="67" dur="1" fill="hold">
                                          <p:stCondLst>
                                            <p:cond delay="0"/>
                                          </p:stCondLst>
                                        </p:cTn>
                                        <p:tgtEl>
                                          <p:spTgt spid="31"/>
                                        </p:tgtEl>
                                        <p:attrNameLst>
                                          <p:attrName>style.visibility</p:attrName>
                                        </p:attrNameLst>
                                      </p:cBhvr>
                                      <p:to>
                                        <p:strVal val="visible"/>
                                      </p:to>
                                    </p:set>
                                    <p:anim calcmode="lin" valueType="num">
                                      <p:cBhvr>
                                        <p:cTn id="68" dur="500" fill="hold"/>
                                        <p:tgtEl>
                                          <p:spTgt spid="31"/>
                                        </p:tgtEl>
                                        <p:attrNameLst>
                                          <p:attrName>ppt_w</p:attrName>
                                        </p:attrNameLst>
                                      </p:cBhvr>
                                      <p:tavLst>
                                        <p:tav tm="0">
                                          <p:val>
                                            <p:fltVal val="0"/>
                                          </p:val>
                                        </p:tav>
                                        <p:tav tm="100000">
                                          <p:val>
                                            <p:strVal val="#ppt_w"/>
                                          </p:val>
                                        </p:tav>
                                      </p:tavLst>
                                    </p:anim>
                                    <p:anim calcmode="lin" valueType="num">
                                      <p:cBhvr>
                                        <p:cTn id="69" dur="500" fill="hold"/>
                                        <p:tgtEl>
                                          <p:spTgt spid="31"/>
                                        </p:tgtEl>
                                        <p:attrNameLst>
                                          <p:attrName>ppt_h</p:attrName>
                                        </p:attrNameLst>
                                      </p:cBhvr>
                                      <p:tavLst>
                                        <p:tav tm="0">
                                          <p:val>
                                            <p:fltVal val="0"/>
                                          </p:val>
                                        </p:tav>
                                        <p:tav tm="100000">
                                          <p:val>
                                            <p:strVal val="#ppt_h"/>
                                          </p:val>
                                        </p:tav>
                                      </p:tavLst>
                                    </p:anim>
                                    <p:animEffect transition="in" filter="fade">
                                      <p:cBhvr>
                                        <p:cTn id="70" dur="500"/>
                                        <p:tgtEl>
                                          <p:spTgt spid="31"/>
                                        </p:tgtEl>
                                      </p:cBhvr>
                                    </p:animEffect>
                                  </p:childTnLst>
                                </p:cTn>
                              </p:par>
                            </p:childTnLst>
                          </p:cTn>
                        </p:par>
                        <p:par>
                          <p:cTn id="71" fill="hold">
                            <p:stCondLst>
                              <p:cond delay="5500"/>
                            </p:stCondLst>
                            <p:childTnLst>
                              <p:par>
                                <p:cTn id="72" presetID="53" presetClass="entr" presetSubtype="16" fill="hold" nodeType="afterEffect">
                                  <p:stCondLst>
                                    <p:cond delay="0"/>
                                  </p:stCondLst>
                                  <p:childTnLst>
                                    <p:set>
                                      <p:cBhvr>
                                        <p:cTn id="73" dur="1" fill="hold">
                                          <p:stCondLst>
                                            <p:cond delay="0"/>
                                          </p:stCondLst>
                                        </p:cTn>
                                        <p:tgtEl>
                                          <p:spTgt spid="52"/>
                                        </p:tgtEl>
                                        <p:attrNameLst>
                                          <p:attrName>style.visibility</p:attrName>
                                        </p:attrNameLst>
                                      </p:cBhvr>
                                      <p:to>
                                        <p:strVal val="visible"/>
                                      </p:to>
                                    </p:set>
                                    <p:anim calcmode="lin" valueType="num">
                                      <p:cBhvr>
                                        <p:cTn id="74" dur="500" fill="hold"/>
                                        <p:tgtEl>
                                          <p:spTgt spid="52"/>
                                        </p:tgtEl>
                                        <p:attrNameLst>
                                          <p:attrName>ppt_w</p:attrName>
                                        </p:attrNameLst>
                                      </p:cBhvr>
                                      <p:tavLst>
                                        <p:tav tm="0">
                                          <p:val>
                                            <p:fltVal val="0"/>
                                          </p:val>
                                        </p:tav>
                                        <p:tav tm="100000">
                                          <p:val>
                                            <p:strVal val="#ppt_w"/>
                                          </p:val>
                                        </p:tav>
                                      </p:tavLst>
                                    </p:anim>
                                    <p:anim calcmode="lin" valueType="num">
                                      <p:cBhvr>
                                        <p:cTn id="75" dur="500" fill="hold"/>
                                        <p:tgtEl>
                                          <p:spTgt spid="52"/>
                                        </p:tgtEl>
                                        <p:attrNameLst>
                                          <p:attrName>ppt_h</p:attrName>
                                        </p:attrNameLst>
                                      </p:cBhvr>
                                      <p:tavLst>
                                        <p:tav tm="0">
                                          <p:val>
                                            <p:fltVal val="0"/>
                                          </p:val>
                                        </p:tav>
                                        <p:tav tm="100000">
                                          <p:val>
                                            <p:strVal val="#ppt_h"/>
                                          </p:val>
                                        </p:tav>
                                      </p:tavLst>
                                    </p:anim>
                                    <p:animEffect transition="in" filter="fade">
                                      <p:cBhvr>
                                        <p:cTn id="76" dur="500"/>
                                        <p:tgtEl>
                                          <p:spTgt spid="52"/>
                                        </p:tgtEl>
                                      </p:cBhvr>
                                    </p:animEffect>
                                  </p:childTnLst>
                                </p:cTn>
                              </p:par>
                            </p:childTnLst>
                          </p:cTn>
                        </p:par>
                        <p:par>
                          <p:cTn id="77" fill="hold">
                            <p:stCondLst>
                              <p:cond delay="6000"/>
                            </p:stCondLst>
                            <p:childTnLst>
                              <p:par>
                                <p:cTn id="78" presetID="2" presetClass="entr" presetSubtype="1" decel="32000" fill="hold" nodeType="afterEffect">
                                  <p:stCondLst>
                                    <p:cond delay="0"/>
                                  </p:stCondLst>
                                  <p:childTnLst>
                                    <p:set>
                                      <p:cBhvr>
                                        <p:cTn id="79" dur="1" fill="hold">
                                          <p:stCondLst>
                                            <p:cond delay="0"/>
                                          </p:stCondLst>
                                        </p:cTn>
                                        <p:tgtEl>
                                          <p:spTgt spid="7"/>
                                        </p:tgtEl>
                                        <p:attrNameLst>
                                          <p:attrName>style.visibility</p:attrName>
                                        </p:attrNameLst>
                                      </p:cBhvr>
                                      <p:to>
                                        <p:strVal val="visible"/>
                                      </p:to>
                                    </p:set>
                                    <p:anim calcmode="lin" valueType="num">
                                      <p:cBhvr additive="base">
                                        <p:cTn id="80" dur="500" fill="hold"/>
                                        <p:tgtEl>
                                          <p:spTgt spid="7"/>
                                        </p:tgtEl>
                                        <p:attrNameLst>
                                          <p:attrName>ppt_x</p:attrName>
                                        </p:attrNameLst>
                                      </p:cBhvr>
                                      <p:tavLst>
                                        <p:tav tm="0">
                                          <p:val>
                                            <p:strVal val="#ppt_x"/>
                                          </p:val>
                                        </p:tav>
                                        <p:tav tm="100000">
                                          <p:val>
                                            <p:strVal val="#ppt_x"/>
                                          </p:val>
                                        </p:tav>
                                      </p:tavLst>
                                    </p:anim>
                                    <p:anim calcmode="lin" valueType="num">
                                      <p:cBhvr additive="base">
                                        <p:cTn id="81" dur="500" fill="hold"/>
                                        <p:tgtEl>
                                          <p:spTgt spid="7"/>
                                        </p:tgtEl>
                                        <p:attrNameLst>
                                          <p:attrName>ppt_y</p:attrName>
                                        </p:attrNameLst>
                                      </p:cBhvr>
                                      <p:tavLst>
                                        <p:tav tm="0">
                                          <p:val>
                                            <p:strVal val="0-#ppt_h/2"/>
                                          </p:val>
                                        </p:tav>
                                        <p:tav tm="100000">
                                          <p:val>
                                            <p:strVal val="#ppt_y"/>
                                          </p:val>
                                        </p:tav>
                                      </p:tavLst>
                                    </p:anim>
                                  </p:childTnLst>
                                </p:cTn>
                              </p:par>
                              <p:par>
                                <p:cTn id="82" presetID="2" presetClass="entr" presetSubtype="4" decel="32000" fill="hold" grpId="0" nodeType="withEffect">
                                  <p:stCondLst>
                                    <p:cond delay="0"/>
                                  </p:stCondLst>
                                  <p:childTnLst>
                                    <p:set>
                                      <p:cBhvr>
                                        <p:cTn id="83" dur="1" fill="hold">
                                          <p:stCondLst>
                                            <p:cond delay="0"/>
                                          </p:stCondLst>
                                        </p:cTn>
                                        <p:tgtEl>
                                          <p:spTgt spid="38"/>
                                        </p:tgtEl>
                                        <p:attrNameLst>
                                          <p:attrName>style.visibility</p:attrName>
                                        </p:attrNameLst>
                                      </p:cBhvr>
                                      <p:to>
                                        <p:strVal val="visible"/>
                                      </p:to>
                                    </p:set>
                                    <p:anim calcmode="lin" valueType="num">
                                      <p:cBhvr additive="base">
                                        <p:cTn id="84" dur="500" fill="hold"/>
                                        <p:tgtEl>
                                          <p:spTgt spid="38"/>
                                        </p:tgtEl>
                                        <p:attrNameLst>
                                          <p:attrName>ppt_x</p:attrName>
                                        </p:attrNameLst>
                                      </p:cBhvr>
                                      <p:tavLst>
                                        <p:tav tm="0">
                                          <p:val>
                                            <p:strVal val="#ppt_x"/>
                                          </p:val>
                                        </p:tav>
                                        <p:tav tm="100000">
                                          <p:val>
                                            <p:strVal val="#ppt_x"/>
                                          </p:val>
                                        </p:tav>
                                      </p:tavLst>
                                    </p:anim>
                                    <p:anim calcmode="lin" valueType="num">
                                      <p:cBhvr additive="base">
                                        <p:cTn id="85"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0" grpId="0"/>
      <p:bldP spid="38" grpId="0"/>
      <p:bldP spid="4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grpSp>
        <p:nvGrpSpPr>
          <p:cNvPr id="2" name="组合 1"/>
          <p:cNvGrpSpPr/>
          <p:nvPr/>
        </p:nvGrpSpPr>
        <p:grpSpPr>
          <a:xfrm>
            <a:off x="899592" y="1201316"/>
            <a:ext cx="3456384" cy="384087"/>
            <a:chOff x="899592" y="1201316"/>
            <a:chExt cx="3456384" cy="384087"/>
          </a:xfrm>
        </p:grpSpPr>
        <p:cxnSp>
          <p:nvCxnSpPr>
            <p:cNvPr id="6" name="直接连接符 5"/>
            <p:cNvCxnSpPr/>
            <p:nvPr/>
          </p:nvCxnSpPr>
          <p:spPr>
            <a:xfrm>
              <a:off x="899592" y="1585403"/>
              <a:ext cx="2808312"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1979712" y="1201316"/>
              <a:ext cx="2376264" cy="369332"/>
            </a:xfrm>
            <a:prstGeom prst="rect">
              <a:avLst/>
            </a:prstGeom>
            <a:noFill/>
          </p:spPr>
          <p:txBody>
            <a:bodyPr wrap="square" rtlCol="0">
              <a:spAutoFit/>
            </a:bodyPr>
            <a:lstStyle/>
            <a:p>
              <a:r>
                <a:rPr lang="zh-CN" altLang="en-US" dirty="0">
                  <a:solidFill>
                    <a:srgbClr val="00B050"/>
                  </a:solidFill>
                  <a:latin typeface="方正兰亭超细黑简体" panose="02000000000000000000" pitchFamily="2" charset="-122"/>
                  <a:ea typeface="方正兰亭超细黑简体" panose="02000000000000000000" pitchFamily="2" charset="-122"/>
                </a:rPr>
                <a:t>上升</a:t>
              </a:r>
            </a:p>
          </p:txBody>
        </p:sp>
      </p:grpSp>
      <p:grpSp>
        <p:nvGrpSpPr>
          <p:cNvPr id="29" name="组合 28"/>
          <p:cNvGrpSpPr/>
          <p:nvPr/>
        </p:nvGrpSpPr>
        <p:grpSpPr>
          <a:xfrm>
            <a:off x="5364088" y="1201316"/>
            <a:ext cx="2808312" cy="384087"/>
            <a:chOff x="5364088" y="1201316"/>
            <a:chExt cx="2808312" cy="384087"/>
          </a:xfrm>
        </p:grpSpPr>
        <p:cxnSp>
          <p:nvCxnSpPr>
            <p:cNvPr id="7" name="直接连接符 6"/>
            <p:cNvCxnSpPr/>
            <p:nvPr/>
          </p:nvCxnSpPr>
          <p:spPr>
            <a:xfrm>
              <a:off x="5364088" y="1585403"/>
              <a:ext cx="2808312"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6372200" y="1201316"/>
              <a:ext cx="1008112" cy="369332"/>
            </a:xfrm>
            <a:prstGeom prst="rect">
              <a:avLst/>
            </a:prstGeom>
            <a:noFill/>
          </p:spPr>
          <p:txBody>
            <a:bodyPr wrap="square" rtlCol="0">
              <a:spAutoFit/>
            </a:bodyPr>
            <a:lstStyle/>
            <a:p>
              <a:r>
                <a:rPr lang="zh-CN" altLang="en-US" dirty="0">
                  <a:solidFill>
                    <a:schemeClr val="accent6">
                      <a:lumMod val="75000"/>
                    </a:schemeClr>
                  </a:solidFill>
                  <a:latin typeface="方正兰亭超细黑简体" panose="02000000000000000000" pitchFamily="2" charset="-122"/>
                  <a:ea typeface="方正兰亭超细黑简体" panose="02000000000000000000" pitchFamily="2" charset="-122"/>
                </a:rPr>
                <a:t>下降</a:t>
              </a:r>
            </a:p>
          </p:txBody>
        </p:sp>
      </p:grpSp>
      <p:sp>
        <p:nvSpPr>
          <p:cNvPr id="10" name="Freeform 81"/>
          <p:cNvSpPr/>
          <p:nvPr/>
        </p:nvSpPr>
        <p:spPr bwMode="black">
          <a:xfrm>
            <a:off x="4194997" y="1894515"/>
            <a:ext cx="566031" cy="699000"/>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0070C0"/>
          </a:solidFill>
          <a:ln>
            <a:noFill/>
          </a:ln>
        </p:spPr>
        <p:txBody>
          <a:bodyPr vert="horz" wrap="square" lIns="82275" tIns="41138" rIns="82275" bIns="41138" numCol="1" anchor="t" anchorCtr="0" compatLnSpc="1"/>
          <a:lstStyle/>
          <a:p>
            <a:endParaRPr lang="en-US" sz="1600" dirty="0">
              <a:latin typeface="方正兰亭超细黑简体" panose="02000000000000000000" pitchFamily="2" charset="-122"/>
              <a:ea typeface="方正兰亭超细黑简体" panose="02000000000000000000" pitchFamily="2" charset="-122"/>
            </a:endParaRPr>
          </a:p>
        </p:txBody>
      </p:sp>
      <p:sp>
        <p:nvSpPr>
          <p:cNvPr id="11" name="Freeform 14"/>
          <p:cNvSpPr>
            <a:spLocks noEditPoints="1"/>
          </p:cNvSpPr>
          <p:nvPr/>
        </p:nvSpPr>
        <p:spPr bwMode="black">
          <a:xfrm rot="900000">
            <a:off x="4268410" y="3125895"/>
            <a:ext cx="518208" cy="63552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0070C0"/>
          </a:solidFill>
          <a:ln>
            <a:noFill/>
          </a:ln>
        </p:spPr>
        <p:txBody>
          <a:bodyPr vert="horz" wrap="square" lIns="82275" tIns="41138" rIns="82275" bIns="41138"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dirty="0">
              <a:latin typeface="方正兰亭超细黑简体" panose="02000000000000000000" pitchFamily="2" charset="-122"/>
              <a:ea typeface="方正兰亭超细黑简体" panose="02000000000000000000" pitchFamily="2" charset="-122"/>
            </a:endParaRPr>
          </a:p>
        </p:txBody>
      </p:sp>
      <p:sp>
        <p:nvSpPr>
          <p:cNvPr id="12" name="Freeform 15"/>
          <p:cNvSpPr>
            <a:spLocks noEditPoints="1"/>
          </p:cNvSpPr>
          <p:nvPr/>
        </p:nvSpPr>
        <p:spPr bwMode="black">
          <a:xfrm>
            <a:off x="4102168" y="4299376"/>
            <a:ext cx="719096" cy="598395"/>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0070C0"/>
          </a:solidFill>
          <a:ln>
            <a:noFill/>
          </a:ln>
        </p:spPr>
        <p:txBody>
          <a:bodyPr vert="horz" wrap="square" lIns="82275" tIns="41138" rIns="82275" bIns="41138"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dirty="0">
              <a:latin typeface="方正兰亭超细黑简体" panose="02000000000000000000" pitchFamily="2" charset="-122"/>
              <a:ea typeface="方正兰亭超细黑简体" panose="02000000000000000000" pitchFamily="2" charset="-122"/>
            </a:endParaRPr>
          </a:p>
        </p:txBody>
      </p:sp>
      <p:grpSp>
        <p:nvGrpSpPr>
          <p:cNvPr id="3" name="组合 2"/>
          <p:cNvGrpSpPr/>
          <p:nvPr/>
        </p:nvGrpSpPr>
        <p:grpSpPr>
          <a:xfrm>
            <a:off x="899592" y="1955983"/>
            <a:ext cx="2905020" cy="757130"/>
            <a:chOff x="899592" y="1955983"/>
            <a:chExt cx="2905020" cy="757130"/>
          </a:xfrm>
        </p:grpSpPr>
        <p:sp>
          <p:nvSpPr>
            <p:cNvPr id="16" name="下箭头 15"/>
            <p:cNvSpPr/>
            <p:nvPr/>
          </p:nvSpPr>
          <p:spPr>
            <a:xfrm flipV="1">
              <a:off x="899592" y="1955983"/>
              <a:ext cx="288032" cy="576064"/>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19" name="矩形 18"/>
            <p:cNvSpPr/>
            <p:nvPr/>
          </p:nvSpPr>
          <p:spPr>
            <a:xfrm>
              <a:off x="1284332" y="1955983"/>
              <a:ext cx="2520280" cy="757130"/>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文</a:t>
              </a:r>
              <a:endParaRPr lang="en-US" altLang="zh-CN" sz="1000" dirty="0">
                <a:latin typeface="方正兰亭超细黑简体" panose="02000000000000000000" pitchFamily="2" charset="-122"/>
                <a:ea typeface="方正兰亭超细黑简体" panose="02000000000000000000" pitchFamily="2" charset="-122"/>
              </a:endParaRPr>
            </a:p>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5" name="组合 4"/>
          <p:cNvGrpSpPr/>
          <p:nvPr/>
        </p:nvGrpSpPr>
        <p:grpSpPr>
          <a:xfrm>
            <a:off x="899592" y="3183096"/>
            <a:ext cx="2905020" cy="757130"/>
            <a:chOff x="899592" y="3183096"/>
            <a:chExt cx="2905020" cy="757130"/>
          </a:xfrm>
        </p:grpSpPr>
        <p:sp>
          <p:nvSpPr>
            <p:cNvPr id="17" name="下箭头 16"/>
            <p:cNvSpPr/>
            <p:nvPr/>
          </p:nvSpPr>
          <p:spPr>
            <a:xfrm flipV="1">
              <a:off x="899592" y="3188192"/>
              <a:ext cx="288032" cy="576064"/>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0" name="矩形 19"/>
            <p:cNvSpPr/>
            <p:nvPr/>
          </p:nvSpPr>
          <p:spPr>
            <a:xfrm>
              <a:off x="1284332" y="3183096"/>
              <a:ext cx="2520280" cy="757130"/>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文</a:t>
              </a:r>
              <a:endParaRPr lang="en-US" altLang="zh-CN" sz="1000" dirty="0">
                <a:latin typeface="方正兰亭超细黑简体" panose="02000000000000000000" pitchFamily="2" charset="-122"/>
                <a:ea typeface="方正兰亭超细黑简体" panose="02000000000000000000" pitchFamily="2" charset="-122"/>
              </a:endParaRPr>
            </a:p>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25" name="组合 24"/>
          <p:cNvGrpSpPr/>
          <p:nvPr/>
        </p:nvGrpSpPr>
        <p:grpSpPr>
          <a:xfrm>
            <a:off x="899592" y="4299376"/>
            <a:ext cx="2905020" cy="757130"/>
            <a:chOff x="899592" y="4299376"/>
            <a:chExt cx="2905020" cy="757130"/>
          </a:xfrm>
        </p:grpSpPr>
        <p:sp>
          <p:nvSpPr>
            <p:cNvPr id="18" name="下箭头 17"/>
            <p:cNvSpPr/>
            <p:nvPr/>
          </p:nvSpPr>
          <p:spPr>
            <a:xfrm flipV="1">
              <a:off x="899592" y="4299376"/>
              <a:ext cx="288032" cy="576064"/>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1" name="矩形 20"/>
            <p:cNvSpPr/>
            <p:nvPr/>
          </p:nvSpPr>
          <p:spPr>
            <a:xfrm>
              <a:off x="1284332" y="4299376"/>
              <a:ext cx="2520280" cy="757130"/>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文</a:t>
              </a:r>
              <a:endParaRPr lang="en-US" altLang="zh-CN" sz="1000" dirty="0">
                <a:latin typeface="方正兰亭超细黑简体" panose="02000000000000000000" pitchFamily="2" charset="-122"/>
                <a:ea typeface="方正兰亭超细黑简体" panose="02000000000000000000" pitchFamily="2" charset="-122"/>
              </a:endParaRPr>
            </a:p>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26" name="组合 25"/>
          <p:cNvGrpSpPr/>
          <p:nvPr/>
        </p:nvGrpSpPr>
        <p:grpSpPr>
          <a:xfrm>
            <a:off x="5364088" y="1901351"/>
            <a:ext cx="2952328" cy="757130"/>
            <a:chOff x="5364088" y="1955983"/>
            <a:chExt cx="2952328" cy="757130"/>
          </a:xfrm>
        </p:grpSpPr>
        <p:sp>
          <p:nvSpPr>
            <p:cNvPr id="13" name="下箭头 12"/>
            <p:cNvSpPr/>
            <p:nvPr/>
          </p:nvSpPr>
          <p:spPr>
            <a:xfrm>
              <a:off x="5364088" y="1955983"/>
              <a:ext cx="288032" cy="576064"/>
            </a:xfrm>
            <a:prstGeom prst="down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2" name="矩形 21"/>
            <p:cNvSpPr/>
            <p:nvPr/>
          </p:nvSpPr>
          <p:spPr>
            <a:xfrm>
              <a:off x="5796136" y="1955983"/>
              <a:ext cx="2520280" cy="757130"/>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文</a:t>
              </a:r>
              <a:endParaRPr lang="en-US" altLang="zh-CN" sz="1000" dirty="0">
                <a:latin typeface="方正兰亭超细黑简体" panose="02000000000000000000" pitchFamily="2" charset="-122"/>
                <a:ea typeface="方正兰亭超细黑简体" panose="02000000000000000000" pitchFamily="2" charset="-122"/>
              </a:endParaRPr>
            </a:p>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27" name="组合 26"/>
          <p:cNvGrpSpPr/>
          <p:nvPr/>
        </p:nvGrpSpPr>
        <p:grpSpPr>
          <a:xfrm>
            <a:off x="5364088" y="3128464"/>
            <a:ext cx="2952328" cy="757130"/>
            <a:chOff x="5364088" y="3183096"/>
            <a:chExt cx="2952328" cy="757130"/>
          </a:xfrm>
        </p:grpSpPr>
        <p:sp>
          <p:nvSpPr>
            <p:cNvPr id="14" name="下箭头 13"/>
            <p:cNvSpPr/>
            <p:nvPr/>
          </p:nvSpPr>
          <p:spPr>
            <a:xfrm>
              <a:off x="5364088" y="3188192"/>
              <a:ext cx="288032" cy="576064"/>
            </a:xfrm>
            <a:prstGeom prst="down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3" name="矩形 22"/>
            <p:cNvSpPr/>
            <p:nvPr/>
          </p:nvSpPr>
          <p:spPr>
            <a:xfrm>
              <a:off x="5796136" y="3183096"/>
              <a:ext cx="2520280" cy="757130"/>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文</a:t>
              </a:r>
              <a:endParaRPr lang="en-US" altLang="zh-CN" sz="1000" dirty="0">
                <a:latin typeface="方正兰亭超细黑简体" panose="02000000000000000000" pitchFamily="2" charset="-122"/>
                <a:ea typeface="方正兰亭超细黑简体" panose="02000000000000000000" pitchFamily="2" charset="-122"/>
              </a:endParaRPr>
            </a:p>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grpSp>
        <p:nvGrpSpPr>
          <p:cNvPr id="28" name="组合 27"/>
          <p:cNvGrpSpPr/>
          <p:nvPr/>
        </p:nvGrpSpPr>
        <p:grpSpPr>
          <a:xfrm>
            <a:off x="5364088" y="4244744"/>
            <a:ext cx="2952328" cy="757130"/>
            <a:chOff x="5364088" y="4299376"/>
            <a:chExt cx="2952328" cy="757130"/>
          </a:xfrm>
        </p:grpSpPr>
        <p:sp>
          <p:nvSpPr>
            <p:cNvPr id="15" name="下箭头 14"/>
            <p:cNvSpPr/>
            <p:nvPr/>
          </p:nvSpPr>
          <p:spPr>
            <a:xfrm>
              <a:off x="5364088" y="4299376"/>
              <a:ext cx="288032" cy="576064"/>
            </a:xfrm>
            <a:prstGeom prst="down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sp>
          <p:nvSpPr>
            <p:cNvPr id="24" name="矩形 23"/>
            <p:cNvSpPr/>
            <p:nvPr/>
          </p:nvSpPr>
          <p:spPr>
            <a:xfrm>
              <a:off x="5796136" y="4299376"/>
              <a:ext cx="2520280" cy="757130"/>
            </a:xfrm>
            <a:prstGeom prst="rect">
              <a:avLst/>
            </a:prstGeom>
          </p:spPr>
          <p:txBody>
            <a:bodyPr wrap="square">
              <a:spAutoFit/>
            </a:bodyPr>
            <a:lstStyle/>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文</a:t>
              </a:r>
              <a:endParaRPr lang="en-US" altLang="zh-CN" sz="1000" dirty="0">
                <a:latin typeface="方正兰亭超细黑简体" panose="02000000000000000000" pitchFamily="2" charset="-122"/>
                <a:ea typeface="方正兰亭超细黑简体" panose="02000000000000000000" pitchFamily="2" charset="-122"/>
              </a:endParaRPr>
            </a:p>
            <a:p>
              <a:pPr>
                <a:lnSpc>
                  <a:spcPct val="120000"/>
                </a:lnSpc>
              </a:pPr>
              <a:r>
                <a:rPr lang="zh-CN" altLang="en-US" sz="1000" dirty="0">
                  <a:latin typeface="方正兰亭超细黑简体" panose="02000000000000000000" pitchFamily="2" charset="-122"/>
                  <a:ea typeface="方正兰亭超细黑简体" panose="02000000000000000000" pitchFamily="2" charset="-122"/>
                </a:rPr>
                <a:t>输入你的</a:t>
              </a:r>
            </a:p>
            <a:p>
              <a:pPr>
                <a:lnSpc>
                  <a:spcPct val="120000"/>
                </a:lnSpc>
              </a:pPr>
              <a:endParaRPr lang="zh-CN" altLang="en-US" sz="600" dirty="0">
                <a:latin typeface="方正兰亭超细黑简体" panose="02000000000000000000" pitchFamily="2" charset="-122"/>
                <a:ea typeface="方正兰亭超细黑简体" panose="02000000000000000000" pitchFamily="2"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par>
                          <p:cTn id="14" fill="hold">
                            <p:stCondLst>
                              <p:cond delay="500"/>
                            </p:stCondLst>
                            <p:childTnLst>
                              <p:par>
                                <p:cTn id="15" presetID="42" presetClass="entr" presetSubtype="0" fill="hold"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anim calcmode="lin" valueType="num">
                                      <p:cBhvr>
                                        <p:cTn id="18" dur="500" fill="hold"/>
                                        <p:tgtEl>
                                          <p:spTgt spid="2"/>
                                        </p:tgtEl>
                                        <p:attrNameLst>
                                          <p:attrName>ppt_x</p:attrName>
                                        </p:attrNameLst>
                                      </p:cBhvr>
                                      <p:tavLst>
                                        <p:tav tm="0">
                                          <p:val>
                                            <p:strVal val="#ppt_x"/>
                                          </p:val>
                                        </p:tav>
                                        <p:tav tm="100000">
                                          <p:val>
                                            <p:strVal val="#ppt_x"/>
                                          </p:val>
                                        </p:tav>
                                      </p:tavLst>
                                    </p:anim>
                                    <p:anim calcmode="lin" valueType="num">
                                      <p:cBhvr>
                                        <p:cTn id="19" dur="500" fill="hold"/>
                                        <p:tgtEl>
                                          <p:spTgt spid="2"/>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anim calcmode="lin" valueType="num">
                                      <p:cBhvr>
                                        <p:cTn id="23" dur="500" fill="hold"/>
                                        <p:tgtEl>
                                          <p:spTgt spid="29"/>
                                        </p:tgtEl>
                                        <p:attrNameLst>
                                          <p:attrName>ppt_x</p:attrName>
                                        </p:attrNameLst>
                                      </p:cBhvr>
                                      <p:tavLst>
                                        <p:tav tm="0">
                                          <p:val>
                                            <p:strVal val="#ppt_x"/>
                                          </p:val>
                                        </p:tav>
                                        <p:tav tm="100000">
                                          <p:val>
                                            <p:strVal val="#ppt_x"/>
                                          </p:val>
                                        </p:tav>
                                      </p:tavLst>
                                    </p:anim>
                                    <p:anim calcmode="lin" valueType="num">
                                      <p:cBhvr>
                                        <p:cTn id="24" dur="500" fill="hold"/>
                                        <p:tgtEl>
                                          <p:spTgt spid="29"/>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2" presetClass="entr" presetSubtype="4" fill="hold" nodeType="after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additive="base">
                                        <p:cTn id="28" dur="500" fill="hold"/>
                                        <p:tgtEl>
                                          <p:spTgt spid="3"/>
                                        </p:tgtEl>
                                        <p:attrNameLst>
                                          <p:attrName>ppt_x</p:attrName>
                                        </p:attrNameLst>
                                      </p:cBhvr>
                                      <p:tavLst>
                                        <p:tav tm="0">
                                          <p:val>
                                            <p:strVal val="#ppt_x"/>
                                          </p:val>
                                        </p:tav>
                                        <p:tav tm="100000">
                                          <p:val>
                                            <p:strVal val="#ppt_x"/>
                                          </p:val>
                                        </p:tav>
                                      </p:tavLst>
                                    </p:anim>
                                    <p:anim calcmode="lin" valueType="num">
                                      <p:cBhvr additive="base">
                                        <p:cTn id="29" dur="500" fill="hold"/>
                                        <p:tgtEl>
                                          <p:spTgt spid="3"/>
                                        </p:tgtEl>
                                        <p:attrNameLst>
                                          <p:attrName>ppt_y</p:attrName>
                                        </p:attrNameLst>
                                      </p:cBhvr>
                                      <p:tavLst>
                                        <p:tav tm="0">
                                          <p:val>
                                            <p:strVal val="1+#ppt_h/2"/>
                                          </p:val>
                                        </p:tav>
                                        <p:tav tm="100000">
                                          <p:val>
                                            <p:strVal val="#ppt_y"/>
                                          </p:val>
                                        </p:tav>
                                      </p:tavLst>
                                    </p:anim>
                                  </p:childTnLst>
                                </p:cTn>
                              </p:par>
                              <p:par>
                                <p:cTn id="30" presetID="2" presetClass="entr" presetSubtype="4" fill="hold" nodeType="withEffect">
                                  <p:stCondLst>
                                    <p:cond delay="200"/>
                                  </p:stCondLst>
                                  <p:childTnLst>
                                    <p:set>
                                      <p:cBhvr>
                                        <p:cTn id="31" dur="1" fill="hold">
                                          <p:stCondLst>
                                            <p:cond delay="0"/>
                                          </p:stCondLst>
                                        </p:cTn>
                                        <p:tgtEl>
                                          <p:spTgt spid="5"/>
                                        </p:tgtEl>
                                        <p:attrNameLst>
                                          <p:attrName>style.visibility</p:attrName>
                                        </p:attrNameLst>
                                      </p:cBhvr>
                                      <p:to>
                                        <p:strVal val="visible"/>
                                      </p:to>
                                    </p:set>
                                    <p:anim calcmode="lin" valueType="num">
                                      <p:cBhvr additive="base">
                                        <p:cTn id="32" dur="500" fill="hold"/>
                                        <p:tgtEl>
                                          <p:spTgt spid="5"/>
                                        </p:tgtEl>
                                        <p:attrNameLst>
                                          <p:attrName>ppt_x</p:attrName>
                                        </p:attrNameLst>
                                      </p:cBhvr>
                                      <p:tavLst>
                                        <p:tav tm="0">
                                          <p:val>
                                            <p:strVal val="#ppt_x"/>
                                          </p:val>
                                        </p:tav>
                                        <p:tav tm="100000">
                                          <p:val>
                                            <p:strVal val="#ppt_x"/>
                                          </p:val>
                                        </p:tav>
                                      </p:tavLst>
                                    </p:anim>
                                    <p:anim calcmode="lin" valueType="num">
                                      <p:cBhvr additive="base">
                                        <p:cTn id="33" dur="500" fill="hold"/>
                                        <p:tgtEl>
                                          <p:spTgt spid="5"/>
                                        </p:tgtEl>
                                        <p:attrNameLst>
                                          <p:attrName>ppt_y</p:attrName>
                                        </p:attrNameLst>
                                      </p:cBhvr>
                                      <p:tavLst>
                                        <p:tav tm="0">
                                          <p:val>
                                            <p:strVal val="1+#ppt_h/2"/>
                                          </p:val>
                                        </p:tav>
                                        <p:tav tm="100000">
                                          <p:val>
                                            <p:strVal val="#ppt_y"/>
                                          </p:val>
                                        </p:tav>
                                      </p:tavLst>
                                    </p:anim>
                                  </p:childTnLst>
                                </p:cTn>
                              </p:par>
                              <p:par>
                                <p:cTn id="34" presetID="2" presetClass="entr" presetSubtype="4" fill="hold" nodeType="withEffect">
                                  <p:stCondLst>
                                    <p:cond delay="400"/>
                                  </p:stCondLst>
                                  <p:childTnLst>
                                    <p:set>
                                      <p:cBhvr>
                                        <p:cTn id="35" dur="1" fill="hold">
                                          <p:stCondLst>
                                            <p:cond delay="0"/>
                                          </p:stCondLst>
                                        </p:cTn>
                                        <p:tgtEl>
                                          <p:spTgt spid="25"/>
                                        </p:tgtEl>
                                        <p:attrNameLst>
                                          <p:attrName>style.visibility</p:attrName>
                                        </p:attrNameLst>
                                      </p:cBhvr>
                                      <p:to>
                                        <p:strVal val="visible"/>
                                      </p:to>
                                    </p:set>
                                    <p:anim calcmode="lin" valueType="num">
                                      <p:cBhvr additive="base">
                                        <p:cTn id="36" dur="500" fill="hold"/>
                                        <p:tgtEl>
                                          <p:spTgt spid="25"/>
                                        </p:tgtEl>
                                        <p:attrNameLst>
                                          <p:attrName>ppt_x</p:attrName>
                                        </p:attrNameLst>
                                      </p:cBhvr>
                                      <p:tavLst>
                                        <p:tav tm="0">
                                          <p:val>
                                            <p:strVal val="#ppt_x"/>
                                          </p:val>
                                        </p:tav>
                                        <p:tav tm="100000">
                                          <p:val>
                                            <p:strVal val="#ppt_x"/>
                                          </p:val>
                                        </p:tav>
                                      </p:tavLst>
                                    </p:anim>
                                    <p:anim calcmode="lin" valueType="num">
                                      <p:cBhvr additive="base">
                                        <p:cTn id="37" dur="500" fill="hold"/>
                                        <p:tgtEl>
                                          <p:spTgt spid="25"/>
                                        </p:tgtEl>
                                        <p:attrNameLst>
                                          <p:attrName>ppt_y</p:attrName>
                                        </p:attrNameLst>
                                      </p:cBhvr>
                                      <p:tavLst>
                                        <p:tav tm="0">
                                          <p:val>
                                            <p:strVal val="1+#ppt_h/2"/>
                                          </p:val>
                                        </p:tav>
                                        <p:tav tm="100000">
                                          <p:val>
                                            <p:strVal val="#ppt_y"/>
                                          </p:val>
                                        </p:tav>
                                      </p:tavLst>
                                    </p:anim>
                                  </p:childTnLst>
                                </p:cTn>
                              </p:par>
                              <p:par>
                                <p:cTn id="38" presetID="2" presetClass="entr" presetSubtype="1" fill="hold" nodeType="withEffect">
                                  <p:stCondLst>
                                    <p:cond delay="0"/>
                                  </p:stCondLst>
                                  <p:childTnLst>
                                    <p:set>
                                      <p:cBhvr>
                                        <p:cTn id="39" dur="1" fill="hold">
                                          <p:stCondLst>
                                            <p:cond delay="0"/>
                                          </p:stCondLst>
                                        </p:cTn>
                                        <p:tgtEl>
                                          <p:spTgt spid="26"/>
                                        </p:tgtEl>
                                        <p:attrNameLst>
                                          <p:attrName>style.visibility</p:attrName>
                                        </p:attrNameLst>
                                      </p:cBhvr>
                                      <p:to>
                                        <p:strVal val="visible"/>
                                      </p:to>
                                    </p:set>
                                    <p:anim calcmode="lin" valueType="num">
                                      <p:cBhvr additive="base">
                                        <p:cTn id="40" dur="500" fill="hold"/>
                                        <p:tgtEl>
                                          <p:spTgt spid="26"/>
                                        </p:tgtEl>
                                        <p:attrNameLst>
                                          <p:attrName>ppt_x</p:attrName>
                                        </p:attrNameLst>
                                      </p:cBhvr>
                                      <p:tavLst>
                                        <p:tav tm="0">
                                          <p:val>
                                            <p:strVal val="#ppt_x"/>
                                          </p:val>
                                        </p:tav>
                                        <p:tav tm="100000">
                                          <p:val>
                                            <p:strVal val="#ppt_x"/>
                                          </p:val>
                                        </p:tav>
                                      </p:tavLst>
                                    </p:anim>
                                    <p:anim calcmode="lin" valueType="num">
                                      <p:cBhvr additive="base">
                                        <p:cTn id="41" dur="500" fill="hold"/>
                                        <p:tgtEl>
                                          <p:spTgt spid="26"/>
                                        </p:tgtEl>
                                        <p:attrNameLst>
                                          <p:attrName>ppt_y</p:attrName>
                                        </p:attrNameLst>
                                      </p:cBhvr>
                                      <p:tavLst>
                                        <p:tav tm="0">
                                          <p:val>
                                            <p:strVal val="0-#ppt_h/2"/>
                                          </p:val>
                                        </p:tav>
                                        <p:tav tm="100000">
                                          <p:val>
                                            <p:strVal val="#ppt_y"/>
                                          </p:val>
                                        </p:tav>
                                      </p:tavLst>
                                    </p:anim>
                                  </p:childTnLst>
                                </p:cTn>
                              </p:par>
                              <p:par>
                                <p:cTn id="42" presetID="2" presetClass="entr" presetSubtype="1" fill="hold" nodeType="withEffect">
                                  <p:stCondLst>
                                    <p:cond delay="200"/>
                                  </p:stCondLst>
                                  <p:childTnLst>
                                    <p:set>
                                      <p:cBhvr>
                                        <p:cTn id="43" dur="1" fill="hold">
                                          <p:stCondLst>
                                            <p:cond delay="0"/>
                                          </p:stCondLst>
                                        </p:cTn>
                                        <p:tgtEl>
                                          <p:spTgt spid="27"/>
                                        </p:tgtEl>
                                        <p:attrNameLst>
                                          <p:attrName>style.visibility</p:attrName>
                                        </p:attrNameLst>
                                      </p:cBhvr>
                                      <p:to>
                                        <p:strVal val="visible"/>
                                      </p:to>
                                    </p:set>
                                    <p:anim calcmode="lin" valueType="num">
                                      <p:cBhvr additive="base">
                                        <p:cTn id="44" dur="500" fill="hold"/>
                                        <p:tgtEl>
                                          <p:spTgt spid="27"/>
                                        </p:tgtEl>
                                        <p:attrNameLst>
                                          <p:attrName>ppt_x</p:attrName>
                                        </p:attrNameLst>
                                      </p:cBhvr>
                                      <p:tavLst>
                                        <p:tav tm="0">
                                          <p:val>
                                            <p:strVal val="#ppt_x"/>
                                          </p:val>
                                        </p:tav>
                                        <p:tav tm="100000">
                                          <p:val>
                                            <p:strVal val="#ppt_x"/>
                                          </p:val>
                                        </p:tav>
                                      </p:tavLst>
                                    </p:anim>
                                    <p:anim calcmode="lin" valueType="num">
                                      <p:cBhvr additive="base">
                                        <p:cTn id="45" dur="500" fill="hold"/>
                                        <p:tgtEl>
                                          <p:spTgt spid="27"/>
                                        </p:tgtEl>
                                        <p:attrNameLst>
                                          <p:attrName>ppt_y</p:attrName>
                                        </p:attrNameLst>
                                      </p:cBhvr>
                                      <p:tavLst>
                                        <p:tav tm="0">
                                          <p:val>
                                            <p:strVal val="0-#ppt_h/2"/>
                                          </p:val>
                                        </p:tav>
                                        <p:tav tm="100000">
                                          <p:val>
                                            <p:strVal val="#ppt_y"/>
                                          </p:val>
                                        </p:tav>
                                      </p:tavLst>
                                    </p:anim>
                                  </p:childTnLst>
                                </p:cTn>
                              </p:par>
                              <p:par>
                                <p:cTn id="46" presetID="2" presetClass="entr" presetSubtype="1" fill="hold" nodeType="withEffect">
                                  <p:stCondLst>
                                    <p:cond delay="300"/>
                                  </p:stCondLst>
                                  <p:childTnLst>
                                    <p:set>
                                      <p:cBhvr>
                                        <p:cTn id="47" dur="1" fill="hold">
                                          <p:stCondLst>
                                            <p:cond delay="0"/>
                                          </p:stCondLst>
                                        </p:cTn>
                                        <p:tgtEl>
                                          <p:spTgt spid="28"/>
                                        </p:tgtEl>
                                        <p:attrNameLst>
                                          <p:attrName>style.visibility</p:attrName>
                                        </p:attrNameLst>
                                      </p:cBhvr>
                                      <p:to>
                                        <p:strVal val="visible"/>
                                      </p:to>
                                    </p:set>
                                    <p:anim calcmode="lin" valueType="num">
                                      <p:cBhvr additive="base">
                                        <p:cTn id="48" dur="500" fill="hold"/>
                                        <p:tgtEl>
                                          <p:spTgt spid="28"/>
                                        </p:tgtEl>
                                        <p:attrNameLst>
                                          <p:attrName>ppt_x</p:attrName>
                                        </p:attrNameLst>
                                      </p:cBhvr>
                                      <p:tavLst>
                                        <p:tav tm="0">
                                          <p:val>
                                            <p:strVal val="#ppt_x"/>
                                          </p:val>
                                        </p:tav>
                                        <p:tav tm="100000">
                                          <p:val>
                                            <p:strVal val="#ppt_x"/>
                                          </p:val>
                                        </p:tav>
                                      </p:tavLst>
                                    </p:anim>
                                    <p:anim calcmode="lin" valueType="num">
                                      <p:cBhvr additive="base">
                                        <p:cTn id="49" dur="500" fill="hold"/>
                                        <p:tgtEl>
                                          <p:spTgt spid="2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sp>
        <p:nvSpPr>
          <p:cNvPr id="9" name="矩形 8"/>
          <p:cNvSpPr/>
          <p:nvPr/>
        </p:nvSpPr>
        <p:spPr>
          <a:xfrm>
            <a:off x="1475656" y="2353444"/>
            <a:ext cx="6084168" cy="122413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p:cNvSpPr/>
          <p:nvPr/>
        </p:nvSpPr>
        <p:spPr>
          <a:xfrm>
            <a:off x="1484254" y="3649588"/>
            <a:ext cx="6084168" cy="7200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6191672" y="2641476"/>
            <a:ext cx="1296144" cy="707886"/>
          </a:xfrm>
          <a:prstGeom prst="rect">
            <a:avLst/>
          </a:prstGeom>
          <a:noFill/>
        </p:spPr>
        <p:txBody>
          <a:bodyPr wrap="square" rtlCol="0">
            <a:spAutoFit/>
          </a:bodyPr>
          <a:lstStyle/>
          <a:p>
            <a:r>
              <a:rPr lang="en-US" altLang="zh-CN" sz="4000" dirty="0">
                <a:solidFill>
                  <a:schemeClr val="bg1"/>
                </a:solidFill>
                <a:latin typeface="方正兰亭超细黑简体" panose="02000000000000000000" pitchFamily="2" charset="-122"/>
                <a:ea typeface="方正兰亭超细黑简体" panose="02000000000000000000" pitchFamily="2" charset="-122"/>
              </a:rPr>
              <a:t>[02]</a:t>
            </a:r>
            <a:endParaRPr lang="zh-CN" altLang="en-US" sz="4000" dirty="0">
              <a:solidFill>
                <a:schemeClr val="bg1"/>
              </a:solidFill>
              <a:latin typeface="方正兰亭超细黑简体" panose="02000000000000000000" pitchFamily="2" charset="-122"/>
              <a:ea typeface="方正兰亭超细黑简体" panose="02000000000000000000" pitchFamily="2" charset="-122"/>
            </a:endParaRPr>
          </a:p>
        </p:txBody>
      </p:sp>
      <p:sp>
        <p:nvSpPr>
          <p:cNvPr id="12" name="文本框 11"/>
          <p:cNvSpPr txBox="1"/>
          <p:nvPr/>
        </p:nvSpPr>
        <p:spPr>
          <a:xfrm>
            <a:off x="6220700" y="2501236"/>
            <a:ext cx="1012793" cy="276999"/>
          </a:xfrm>
          <a:prstGeom prst="rect">
            <a:avLst/>
          </a:prstGeom>
          <a:noFill/>
        </p:spPr>
        <p:txBody>
          <a:bodyPr wrap="square" rtlCol="0">
            <a:spAutoFit/>
          </a:bodyPr>
          <a:lstStyle/>
          <a:p>
            <a:r>
              <a:rPr lang="en-US" altLang="zh-CN" sz="1200" dirty="0">
                <a:solidFill>
                  <a:schemeClr val="bg1"/>
                </a:solidFill>
              </a:rPr>
              <a:t>part</a:t>
            </a:r>
            <a:endParaRPr lang="zh-CN" altLang="en-US" sz="1200" dirty="0">
              <a:solidFill>
                <a:schemeClr val="bg1"/>
              </a:solidFill>
            </a:endParaRPr>
          </a:p>
        </p:txBody>
      </p:sp>
      <p:sp>
        <p:nvSpPr>
          <p:cNvPr id="13" name="文本框 12"/>
          <p:cNvSpPr txBox="1"/>
          <p:nvPr/>
        </p:nvSpPr>
        <p:spPr>
          <a:xfrm>
            <a:off x="5898959" y="3217540"/>
            <a:ext cx="4973233" cy="338554"/>
          </a:xfrm>
          <a:prstGeom prst="rect">
            <a:avLst/>
          </a:prstGeom>
          <a:noFill/>
        </p:spPr>
        <p:txBody>
          <a:bodyPr wrap="square" rtlCol="0">
            <a:spAutoFit/>
          </a:bodyPr>
          <a:lstStyle/>
          <a:p>
            <a:r>
              <a:rPr lang="zh-CN" altLang="en-US" sz="1600" dirty="0">
                <a:solidFill>
                  <a:schemeClr val="bg1"/>
                </a:solidFill>
                <a:latin typeface="方正兰亭超细黑简体" panose="02000000000000000000" pitchFamily="2" charset="-122"/>
                <a:ea typeface="方正兰亭超细黑简体" panose="02000000000000000000" pitchFamily="2" charset="-122"/>
              </a:rPr>
              <a:t>点击输入文本</a:t>
            </a:r>
          </a:p>
        </p:txBody>
      </p:sp>
      <p:pic>
        <p:nvPicPr>
          <p:cNvPr id="15" name="图片 14"/>
          <p:cNvPicPr>
            <a:picLocks noChangeAspect="1"/>
          </p:cNvPicPr>
          <p:nvPr/>
        </p:nvPicPr>
        <p:blipFill rotWithShape="1">
          <a:blip r:embed="rId2" cstate="print">
            <a:extLst>
              <a:ext uri="{28A0092B-C50C-407E-A947-70E740481C1C}">
                <a14:useLocalDpi xmlns:a14="http://schemas.microsoft.com/office/drawing/2010/main" val="0"/>
              </a:ext>
            </a:extLst>
          </a:blip>
          <a:srcRect b="7067"/>
          <a:stretch>
            <a:fillRect/>
          </a:stretch>
        </p:blipFill>
        <p:spPr>
          <a:xfrm>
            <a:off x="2051720" y="1804231"/>
            <a:ext cx="2243318" cy="1392571"/>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sp>
        <p:nvSpPr>
          <p:cNvPr id="70" name="Freeform 69"/>
          <p:cNvSpPr/>
          <p:nvPr/>
        </p:nvSpPr>
        <p:spPr bwMode="auto">
          <a:xfrm>
            <a:off x="5125273" y="2467342"/>
            <a:ext cx="399012" cy="799915"/>
          </a:xfrm>
          <a:custGeom>
            <a:avLst/>
            <a:gdLst>
              <a:gd name="T0" fmla="*/ 26 w 43"/>
              <a:gd name="T1" fmla="*/ 82 h 86"/>
              <a:gd name="T2" fmla="*/ 26 w 43"/>
              <a:gd name="T3" fmla="*/ 84 h 86"/>
              <a:gd name="T4" fmla="*/ 40 w 43"/>
              <a:gd name="T5" fmla="*/ 86 h 86"/>
              <a:gd name="T6" fmla="*/ 40 w 43"/>
              <a:gd name="T7" fmla="*/ 84 h 86"/>
              <a:gd name="T8" fmla="*/ 10 w 43"/>
              <a:gd name="T9" fmla="*/ 0 h 86"/>
              <a:gd name="T10" fmla="*/ 0 w 43"/>
              <a:gd name="T11" fmla="*/ 10 h 86"/>
              <a:gd name="T12" fmla="*/ 26 w 43"/>
              <a:gd name="T13" fmla="*/ 82 h 86"/>
            </a:gdLst>
            <a:ahLst/>
            <a:cxnLst>
              <a:cxn ang="0">
                <a:pos x="T0" y="T1"/>
              </a:cxn>
              <a:cxn ang="0">
                <a:pos x="T2" y="T3"/>
              </a:cxn>
              <a:cxn ang="0">
                <a:pos x="T4" y="T5"/>
              </a:cxn>
              <a:cxn ang="0">
                <a:pos x="T6" y="T7"/>
              </a:cxn>
              <a:cxn ang="0">
                <a:pos x="T8" y="T9"/>
              </a:cxn>
              <a:cxn ang="0">
                <a:pos x="T10" y="T11"/>
              </a:cxn>
              <a:cxn ang="0">
                <a:pos x="T12" y="T13"/>
              </a:cxn>
            </a:cxnLst>
            <a:rect l="0" t="0" r="r" b="b"/>
            <a:pathLst>
              <a:path w="43" h="86">
                <a:moveTo>
                  <a:pt x="26" y="82"/>
                </a:moveTo>
                <a:cubicBezTo>
                  <a:pt x="26" y="83"/>
                  <a:pt x="26" y="84"/>
                  <a:pt x="26" y="84"/>
                </a:cubicBezTo>
                <a:cubicBezTo>
                  <a:pt x="40" y="86"/>
                  <a:pt x="40" y="86"/>
                  <a:pt x="40" y="86"/>
                </a:cubicBezTo>
                <a:cubicBezTo>
                  <a:pt x="40" y="85"/>
                  <a:pt x="40" y="84"/>
                  <a:pt x="40" y="84"/>
                </a:cubicBezTo>
                <a:cubicBezTo>
                  <a:pt x="43" y="51"/>
                  <a:pt x="31" y="22"/>
                  <a:pt x="10" y="0"/>
                </a:cubicBezTo>
                <a:cubicBezTo>
                  <a:pt x="0" y="10"/>
                  <a:pt x="0" y="10"/>
                  <a:pt x="0" y="10"/>
                </a:cubicBezTo>
                <a:cubicBezTo>
                  <a:pt x="18" y="29"/>
                  <a:pt x="28" y="55"/>
                  <a:pt x="26" y="82"/>
                </a:cubicBezTo>
                <a:close/>
              </a:path>
            </a:pathLst>
          </a:custGeom>
          <a:solidFill>
            <a:srgbClr val="00B05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1" name="Freeform 70"/>
          <p:cNvSpPr/>
          <p:nvPr/>
        </p:nvSpPr>
        <p:spPr bwMode="auto">
          <a:xfrm>
            <a:off x="3839357" y="2153427"/>
            <a:ext cx="1378577" cy="408467"/>
          </a:xfrm>
          <a:custGeom>
            <a:avLst/>
            <a:gdLst>
              <a:gd name="T0" fmla="*/ 0 w 149"/>
              <a:gd name="T1" fmla="*/ 30 h 44"/>
              <a:gd name="T2" fmla="*/ 10 w 149"/>
              <a:gd name="T3" fmla="*/ 41 h 44"/>
              <a:gd name="T4" fmla="*/ 80 w 149"/>
              <a:gd name="T5" fmla="*/ 17 h 44"/>
              <a:gd name="T6" fmla="*/ 139 w 149"/>
              <a:gd name="T7" fmla="*/ 44 h 44"/>
              <a:gd name="T8" fmla="*/ 149 w 149"/>
              <a:gd name="T9" fmla="*/ 34 h 44"/>
              <a:gd name="T10" fmla="*/ 81 w 149"/>
              <a:gd name="T11" fmla="*/ 2 h 44"/>
              <a:gd name="T12" fmla="*/ 0 w 149"/>
              <a:gd name="T13" fmla="*/ 30 h 44"/>
            </a:gdLst>
            <a:ahLst/>
            <a:cxnLst>
              <a:cxn ang="0">
                <a:pos x="T0" y="T1"/>
              </a:cxn>
              <a:cxn ang="0">
                <a:pos x="T2" y="T3"/>
              </a:cxn>
              <a:cxn ang="0">
                <a:pos x="T4" y="T5"/>
              </a:cxn>
              <a:cxn ang="0">
                <a:pos x="T6" y="T7"/>
              </a:cxn>
              <a:cxn ang="0">
                <a:pos x="T8" y="T9"/>
              </a:cxn>
              <a:cxn ang="0">
                <a:pos x="T10" y="T11"/>
              </a:cxn>
              <a:cxn ang="0">
                <a:pos x="T12" y="T13"/>
              </a:cxn>
            </a:cxnLst>
            <a:rect l="0" t="0" r="r" b="b"/>
            <a:pathLst>
              <a:path w="149" h="44">
                <a:moveTo>
                  <a:pt x="0" y="30"/>
                </a:moveTo>
                <a:cubicBezTo>
                  <a:pt x="10" y="41"/>
                  <a:pt x="10" y="41"/>
                  <a:pt x="10" y="41"/>
                </a:cubicBezTo>
                <a:cubicBezTo>
                  <a:pt x="28" y="24"/>
                  <a:pt x="53" y="14"/>
                  <a:pt x="80" y="17"/>
                </a:cubicBezTo>
                <a:cubicBezTo>
                  <a:pt x="103" y="18"/>
                  <a:pt x="124" y="29"/>
                  <a:pt x="139" y="44"/>
                </a:cubicBezTo>
                <a:cubicBezTo>
                  <a:pt x="149" y="34"/>
                  <a:pt x="149" y="34"/>
                  <a:pt x="149" y="34"/>
                </a:cubicBezTo>
                <a:cubicBezTo>
                  <a:pt x="131" y="16"/>
                  <a:pt x="108" y="5"/>
                  <a:pt x="81" y="2"/>
                </a:cubicBezTo>
                <a:cubicBezTo>
                  <a:pt x="50" y="0"/>
                  <a:pt x="21" y="11"/>
                  <a:pt x="0" y="30"/>
                </a:cubicBezTo>
                <a:close/>
              </a:path>
            </a:pathLst>
          </a:custGeom>
          <a:solidFill>
            <a:schemeClr val="accent6">
              <a:lumMod val="75000"/>
            </a:schemeClr>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2" name="Freeform 71"/>
          <p:cNvSpPr/>
          <p:nvPr/>
        </p:nvSpPr>
        <p:spPr bwMode="auto">
          <a:xfrm>
            <a:off x="5217934" y="3248346"/>
            <a:ext cx="277985" cy="472763"/>
          </a:xfrm>
          <a:custGeom>
            <a:avLst/>
            <a:gdLst>
              <a:gd name="T0" fmla="*/ 0 w 30"/>
              <a:gd name="T1" fmla="*/ 43 h 51"/>
              <a:gd name="T2" fmla="*/ 11 w 30"/>
              <a:gd name="T3" fmla="*/ 51 h 51"/>
              <a:gd name="T4" fmla="*/ 30 w 30"/>
              <a:gd name="T5" fmla="*/ 2 h 51"/>
              <a:gd name="T6" fmla="*/ 16 w 30"/>
              <a:gd name="T7" fmla="*/ 0 h 51"/>
              <a:gd name="T8" fmla="*/ 0 w 30"/>
              <a:gd name="T9" fmla="*/ 43 h 51"/>
            </a:gdLst>
            <a:ahLst/>
            <a:cxnLst>
              <a:cxn ang="0">
                <a:pos x="T0" y="T1"/>
              </a:cxn>
              <a:cxn ang="0">
                <a:pos x="T2" y="T3"/>
              </a:cxn>
              <a:cxn ang="0">
                <a:pos x="T4" y="T5"/>
              </a:cxn>
              <a:cxn ang="0">
                <a:pos x="T6" y="T7"/>
              </a:cxn>
              <a:cxn ang="0">
                <a:pos x="T8" y="T9"/>
              </a:cxn>
            </a:cxnLst>
            <a:rect l="0" t="0" r="r" b="b"/>
            <a:pathLst>
              <a:path w="30" h="51">
                <a:moveTo>
                  <a:pt x="0" y="43"/>
                </a:moveTo>
                <a:cubicBezTo>
                  <a:pt x="11" y="51"/>
                  <a:pt x="11" y="51"/>
                  <a:pt x="11" y="51"/>
                </a:cubicBezTo>
                <a:cubicBezTo>
                  <a:pt x="21" y="37"/>
                  <a:pt x="28" y="20"/>
                  <a:pt x="30" y="2"/>
                </a:cubicBezTo>
                <a:cubicBezTo>
                  <a:pt x="16" y="0"/>
                  <a:pt x="16" y="0"/>
                  <a:pt x="16" y="0"/>
                </a:cubicBezTo>
                <a:cubicBezTo>
                  <a:pt x="14" y="16"/>
                  <a:pt x="8" y="31"/>
                  <a:pt x="0" y="43"/>
                </a:cubicBezTo>
                <a:close/>
              </a:path>
            </a:pathLst>
          </a:custGeom>
          <a:solidFill>
            <a:srgbClr val="6992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3" name="Freeform 72"/>
          <p:cNvSpPr/>
          <p:nvPr/>
        </p:nvSpPr>
        <p:spPr bwMode="auto">
          <a:xfrm>
            <a:off x="3551917" y="3386393"/>
            <a:ext cx="639176" cy="697799"/>
          </a:xfrm>
          <a:custGeom>
            <a:avLst/>
            <a:gdLst>
              <a:gd name="T0" fmla="*/ 14 w 69"/>
              <a:gd name="T1" fmla="*/ 0 h 75"/>
              <a:gd name="T2" fmla="*/ 0 w 69"/>
              <a:gd name="T3" fmla="*/ 4 h 75"/>
              <a:gd name="T4" fmla="*/ 64 w 69"/>
              <a:gd name="T5" fmla="*/ 75 h 75"/>
              <a:gd name="T6" fmla="*/ 69 w 69"/>
              <a:gd name="T7" fmla="*/ 62 h 75"/>
              <a:gd name="T8" fmla="*/ 14 w 69"/>
              <a:gd name="T9" fmla="*/ 0 h 75"/>
            </a:gdLst>
            <a:ahLst/>
            <a:cxnLst>
              <a:cxn ang="0">
                <a:pos x="T0" y="T1"/>
              </a:cxn>
              <a:cxn ang="0">
                <a:pos x="T2" y="T3"/>
              </a:cxn>
              <a:cxn ang="0">
                <a:pos x="T4" y="T5"/>
              </a:cxn>
              <a:cxn ang="0">
                <a:pos x="T6" y="T7"/>
              </a:cxn>
              <a:cxn ang="0">
                <a:pos x="T8" y="T9"/>
              </a:cxn>
            </a:cxnLst>
            <a:rect l="0" t="0" r="r" b="b"/>
            <a:pathLst>
              <a:path w="69" h="75">
                <a:moveTo>
                  <a:pt x="14" y="0"/>
                </a:moveTo>
                <a:cubicBezTo>
                  <a:pt x="0" y="4"/>
                  <a:pt x="0" y="4"/>
                  <a:pt x="0" y="4"/>
                </a:cubicBezTo>
                <a:cubicBezTo>
                  <a:pt x="9" y="36"/>
                  <a:pt x="33" y="63"/>
                  <a:pt x="64" y="75"/>
                </a:cubicBezTo>
                <a:cubicBezTo>
                  <a:pt x="69" y="62"/>
                  <a:pt x="69" y="62"/>
                  <a:pt x="69" y="62"/>
                </a:cubicBezTo>
                <a:cubicBezTo>
                  <a:pt x="42" y="51"/>
                  <a:pt x="22" y="28"/>
                  <a:pt x="14" y="0"/>
                </a:cubicBezTo>
                <a:close/>
              </a:path>
            </a:pathLst>
          </a:custGeom>
          <a:solidFill>
            <a:srgbClr val="69928E"/>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4" name="Freeform 73"/>
          <p:cNvSpPr/>
          <p:nvPr/>
        </p:nvSpPr>
        <p:spPr bwMode="auto">
          <a:xfrm>
            <a:off x="3515987" y="2431412"/>
            <a:ext cx="416032" cy="992803"/>
          </a:xfrm>
          <a:custGeom>
            <a:avLst/>
            <a:gdLst>
              <a:gd name="T0" fmla="*/ 15 w 45"/>
              <a:gd name="T1" fmla="*/ 71 h 107"/>
              <a:gd name="T2" fmla="*/ 45 w 45"/>
              <a:gd name="T3" fmla="*/ 11 h 107"/>
              <a:gd name="T4" fmla="*/ 35 w 45"/>
              <a:gd name="T5" fmla="*/ 0 h 107"/>
              <a:gd name="T6" fmla="*/ 1 w 45"/>
              <a:gd name="T7" fmla="*/ 70 h 107"/>
              <a:gd name="T8" fmla="*/ 4 w 45"/>
              <a:gd name="T9" fmla="*/ 107 h 107"/>
              <a:gd name="T10" fmla="*/ 18 w 45"/>
              <a:gd name="T11" fmla="*/ 103 h 107"/>
              <a:gd name="T12" fmla="*/ 15 w 45"/>
              <a:gd name="T13" fmla="*/ 71 h 107"/>
            </a:gdLst>
            <a:ahLst/>
            <a:cxnLst>
              <a:cxn ang="0">
                <a:pos x="T0" y="T1"/>
              </a:cxn>
              <a:cxn ang="0">
                <a:pos x="T2" y="T3"/>
              </a:cxn>
              <a:cxn ang="0">
                <a:pos x="T4" y="T5"/>
              </a:cxn>
              <a:cxn ang="0">
                <a:pos x="T6" y="T7"/>
              </a:cxn>
              <a:cxn ang="0">
                <a:pos x="T8" y="T9"/>
              </a:cxn>
              <a:cxn ang="0">
                <a:pos x="T10" y="T11"/>
              </a:cxn>
              <a:cxn ang="0">
                <a:pos x="T12" y="T13"/>
              </a:cxn>
            </a:cxnLst>
            <a:rect l="0" t="0" r="r" b="b"/>
            <a:pathLst>
              <a:path w="45" h="107">
                <a:moveTo>
                  <a:pt x="15" y="71"/>
                </a:moveTo>
                <a:cubicBezTo>
                  <a:pt x="17" y="47"/>
                  <a:pt x="28" y="26"/>
                  <a:pt x="45" y="11"/>
                </a:cubicBezTo>
                <a:cubicBezTo>
                  <a:pt x="35" y="0"/>
                  <a:pt x="35" y="0"/>
                  <a:pt x="35" y="0"/>
                </a:cubicBezTo>
                <a:cubicBezTo>
                  <a:pt x="16" y="18"/>
                  <a:pt x="3" y="42"/>
                  <a:pt x="1" y="70"/>
                </a:cubicBezTo>
                <a:cubicBezTo>
                  <a:pt x="0" y="83"/>
                  <a:pt x="1" y="95"/>
                  <a:pt x="4" y="107"/>
                </a:cubicBezTo>
                <a:cubicBezTo>
                  <a:pt x="18" y="103"/>
                  <a:pt x="18" y="103"/>
                  <a:pt x="18" y="103"/>
                </a:cubicBezTo>
                <a:cubicBezTo>
                  <a:pt x="15" y="93"/>
                  <a:pt x="14" y="82"/>
                  <a:pt x="15" y="71"/>
                </a:cubicBezTo>
                <a:close/>
              </a:path>
            </a:pathLst>
          </a:custGeom>
          <a:solidFill>
            <a:srgbClr val="0070C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75" name="Freeform 74"/>
          <p:cNvSpPr/>
          <p:nvPr/>
        </p:nvSpPr>
        <p:spPr bwMode="auto">
          <a:xfrm>
            <a:off x="4143816" y="3647359"/>
            <a:ext cx="1176235" cy="529495"/>
          </a:xfrm>
          <a:custGeom>
            <a:avLst/>
            <a:gdLst>
              <a:gd name="T0" fmla="*/ 32 w 127"/>
              <a:gd name="T1" fmla="*/ 40 h 57"/>
              <a:gd name="T2" fmla="*/ 5 w 127"/>
              <a:gd name="T3" fmla="*/ 34 h 57"/>
              <a:gd name="T4" fmla="*/ 0 w 127"/>
              <a:gd name="T5" fmla="*/ 47 h 57"/>
              <a:gd name="T6" fmla="*/ 31 w 127"/>
              <a:gd name="T7" fmla="*/ 54 h 57"/>
              <a:gd name="T8" fmla="*/ 127 w 127"/>
              <a:gd name="T9" fmla="*/ 8 h 57"/>
              <a:gd name="T10" fmla="*/ 116 w 127"/>
              <a:gd name="T11" fmla="*/ 0 h 57"/>
              <a:gd name="T12" fmla="*/ 32 w 127"/>
              <a:gd name="T13" fmla="*/ 40 h 57"/>
            </a:gdLst>
            <a:ahLst/>
            <a:cxnLst>
              <a:cxn ang="0">
                <a:pos x="T0" y="T1"/>
              </a:cxn>
              <a:cxn ang="0">
                <a:pos x="T2" y="T3"/>
              </a:cxn>
              <a:cxn ang="0">
                <a:pos x="T4" y="T5"/>
              </a:cxn>
              <a:cxn ang="0">
                <a:pos x="T6" y="T7"/>
              </a:cxn>
              <a:cxn ang="0">
                <a:pos x="T8" y="T9"/>
              </a:cxn>
              <a:cxn ang="0">
                <a:pos x="T10" y="T11"/>
              </a:cxn>
              <a:cxn ang="0">
                <a:pos x="T12" y="T13"/>
              </a:cxn>
            </a:cxnLst>
            <a:rect l="0" t="0" r="r" b="b"/>
            <a:pathLst>
              <a:path w="127" h="57">
                <a:moveTo>
                  <a:pt x="32" y="40"/>
                </a:moveTo>
                <a:cubicBezTo>
                  <a:pt x="23" y="39"/>
                  <a:pt x="14" y="37"/>
                  <a:pt x="5" y="34"/>
                </a:cubicBezTo>
                <a:cubicBezTo>
                  <a:pt x="0" y="47"/>
                  <a:pt x="0" y="47"/>
                  <a:pt x="0" y="47"/>
                </a:cubicBezTo>
                <a:cubicBezTo>
                  <a:pt x="10" y="51"/>
                  <a:pt x="20" y="53"/>
                  <a:pt x="31" y="54"/>
                </a:cubicBezTo>
                <a:cubicBezTo>
                  <a:pt x="70" y="57"/>
                  <a:pt x="106" y="39"/>
                  <a:pt x="127" y="8"/>
                </a:cubicBezTo>
                <a:cubicBezTo>
                  <a:pt x="116" y="0"/>
                  <a:pt x="116" y="0"/>
                  <a:pt x="116" y="0"/>
                </a:cubicBezTo>
                <a:cubicBezTo>
                  <a:pt x="97" y="27"/>
                  <a:pt x="66" y="43"/>
                  <a:pt x="32" y="40"/>
                </a:cubicBezTo>
                <a:close/>
              </a:path>
            </a:pathLst>
          </a:custGeom>
          <a:solidFill>
            <a:srgbClr val="A9330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nvGrpSpPr>
          <p:cNvPr id="154" name="组合 153"/>
          <p:cNvGrpSpPr/>
          <p:nvPr/>
        </p:nvGrpSpPr>
        <p:grpSpPr>
          <a:xfrm>
            <a:off x="3746695" y="1920827"/>
            <a:ext cx="1573356" cy="546515"/>
            <a:chOff x="3746695" y="1784500"/>
            <a:chExt cx="1573356" cy="546515"/>
          </a:xfrm>
        </p:grpSpPr>
        <p:sp>
          <p:nvSpPr>
            <p:cNvPr id="77" name="Freeform 76"/>
            <p:cNvSpPr/>
            <p:nvPr/>
          </p:nvSpPr>
          <p:spPr bwMode="auto">
            <a:xfrm>
              <a:off x="3746695" y="1867707"/>
              <a:ext cx="1573356" cy="463308"/>
            </a:xfrm>
            <a:custGeom>
              <a:avLst/>
              <a:gdLst>
                <a:gd name="T0" fmla="*/ 92 w 170"/>
                <a:gd name="T1" fmla="*/ 3 h 50"/>
                <a:gd name="T2" fmla="*/ 0 w 170"/>
                <a:gd name="T3" fmla="*/ 35 h 50"/>
                <a:gd name="T4" fmla="*/ 10 w 170"/>
                <a:gd name="T5" fmla="*/ 46 h 50"/>
                <a:gd name="T6" fmla="*/ 10 w 170"/>
                <a:gd name="T7" fmla="*/ 46 h 50"/>
                <a:gd name="T8" fmla="*/ 91 w 170"/>
                <a:gd name="T9" fmla="*/ 18 h 50"/>
                <a:gd name="T10" fmla="*/ 159 w 170"/>
                <a:gd name="T11" fmla="*/ 50 h 50"/>
                <a:gd name="T12" fmla="*/ 159 w 170"/>
                <a:gd name="T13" fmla="*/ 50 h 50"/>
                <a:gd name="T14" fmla="*/ 170 w 170"/>
                <a:gd name="T15" fmla="*/ 40 h 50"/>
                <a:gd name="T16" fmla="*/ 92 w 170"/>
                <a:gd name="T17"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50">
                  <a:moveTo>
                    <a:pt x="92" y="3"/>
                  </a:moveTo>
                  <a:cubicBezTo>
                    <a:pt x="57" y="0"/>
                    <a:pt x="24" y="13"/>
                    <a:pt x="0" y="35"/>
                  </a:cubicBezTo>
                  <a:cubicBezTo>
                    <a:pt x="10" y="46"/>
                    <a:pt x="10" y="46"/>
                    <a:pt x="10" y="46"/>
                  </a:cubicBezTo>
                  <a:cubicBezTo>
                    <a:pt x="10" y="46"/>
                    <a:pt x="10" y="46"/>
                    <a:pt x="10" y="46"/>
                  </a:cubicBezTo>
                  <a:cubicBezTo>
                    <a:pt x="31" y="27"/>
                    <a:pt x="60" y="16"/>
                    <a:pt x="91" y="18"/>
                  </a:cubicBezTo>
                  <a:cubicBezTo>
                    <a:pt x="118" y="21"/>
                    <a:pt x="141" y="32"/>
                    <a:pt x="159" y="50"/>
                  </a:cubicBezTo>
                  <a:cubicBezTo>
                    <a:pt x="159" y="50"/>
                    <a:pt x="159" y="50"/>
                    <a:pt x="159" y="50"/>
                  </a:cubicBezTo>
                  <a:cubicBezTo>
                    <a:pt x="170" y="40"/>
                    <a:pt x="170" y="40"/>
                    <a:pt x="170" y="40"/>
                  </a:cubicBezTo>
                  <a:cubicBezTo>
                    <a:pt x="150" y="19"/>
                    <a:pt x="123" y="6"/>
                    <a:pt x="92" y="3"/>
                  </a:cubicBezTo>
                  <a:close/>
                </a:path>
              </a:pathLst>
            </a:custGeom>
            <a:solidFill>
              <a:srgbClr val="EBAA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1" name="Freeform 80"/>
            <p:cNvSpPr/>
            <p:nvPr/>
          </p:nvSpPr>
          <p:spPr bwMode="auto">
            <a:xfrm>
              <a:off x="4421801" y="1784500"/>
              <a:ext cx="139938" cy="121027"/>
            </a:xfrm>
            <a:custGeom>
              <a:avLst/>
              <a:gdLst>
                <a:gd name="T0" fmla="*/ 35 w 74"/>
                <a:gd name="T1" fmla="*/ 0 h 64"/>
                <a:gd name="T2" fmla="*/ 54 w 74"/>
                <a:gd name="T3" fmla="*/ 29 h 64"/>
                <a:gd name="T4" fmla="*/ 74 w 74"/>
                <a:gd name="T5" fmla="*/ 64 h 64"/>
                <a:gd name="T6" fmla="*/ 35 w 74"/>
                <a:gd name="T7" fmla="*/ 64 h 64"/>
                <a:gd name="T8" fmla="*/ 0 w 74"/>
                <a:gd name="T9" fmla="*/ 64 h 64"/>
                <a:gd name="T10" fmla="*/ 15 w 74"/>
                <a:gd name="T11" fmla="*/ 34 h 64"/>
                <a:gd name="T12" fmla="*/ 35 w 74"/>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74" h="64">
                  <a:moveTo>
                    <a:pt x="35" y="0"/>
                  </a:moveTo>
                  <a:lnTo>
                    <a:pt x="54" y="29"/>
                  </a:lnTo>
                  <a:lnTo>
                    <a:pt x="74" y="64"/>
                  </a:lnTo>
                  <a:lnTo>
                    <a:pt x="35" y="64"/>
                  </a:lnTo>
                  <a:lnTo>
                    <a:pt x="0" y="64"/>
                  </a:lnTo>
                  <a:lnTo>
                    <a:pt x="15" y="34"/>
                  </a:lnTo>
                  <a:lnTo>
                    <a:pt x="35" y="0"/>
                  </a:lnTo>
                  <a:close/>
                </a:path>
              </a:pathLst>
            </a:custGeom>
            <a:solidFill>
              <a:srgbClr val="EBAA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sp>
        <p:nvSpPr>
          <p:cNvPr id="82" name="Freeform 81"/>
          <p:cNvSpPr/>
          <p:nvPr/>
        </p:nvSpPr>
        <p:spPr bwMode="auto">
          <a:xfrm>
            <a:off x="5217934" y="2374680"/>
            <a:ext cx="444397" cy="902032"/>
          </a:xfrm>
          <a:custGeom>
            <a:avLst/>
            <a:gdLst>
              <a:gd name="T0" fmla="*/ 43 w 48"/>
              <a:gd name="T1" fmla="*/ 45 h 97"/>
              <a:gd name="T2" fmla="*/ 48 w 48"/>
              <a:gd name="T3" fmla="*/ 39 h 97"/>
              <a:gd name="T4" fmla="*/ 41 w 48"/>
              <a:gd name="T5" fmla="*/ 38 h 97"/>
              <a:gd name="T6" fmla="*/ 36 w 48"/>
              <a:gd name="T7" fmla="*/ 37 h 97"/>
              <a:gd name="T8" fmla="*/ 11 w 48"/>
              <a:gd name="T9" fmla="*/ 0 h 97"/>
              <a:gd name="T10" fmla="*/ 0 w 48"/>
              <a:gd name="T11" fmla="*/ 10 h 97"/>
              <a:gd name="T12" fmla="*/ 0 w 48"/>
              <a:gd name="T13" fmla="*/ 10 h 97"/>
              <a:gd name="T14" fmla="*/ 30 w 48"/>
              <a:gd name="T15" fmla="*/ 94 h 97"/>
              <a:gd name="T16" fmla="*/ 30 w 48"/>
              <a:gd name="T17" fmla="*/ 96 h 97"/>
              <a:gd name="T18" fmla="*/ 30 w 48"/>
              <a:gd name="T19" fmla="*/ 96 h 97"/>
              <a:gd name="T20" fmla="*/ 45 w 48"/>
              <a:gd name="T21" fmla="*/ 97 h 97"/>
              <a:gd name="T22" fmla="*/ 45 w 48"/>
              <a:gd name="T23" fmla="*/ 95 h 97"/>
              <a:gd name="T24" fmla="*/ 40 w 48"/>
              <a:gd name="T25" fmla="*/ 49 h 97"/>
              <a:gd name="T26" fmla="*/ 43 w 48"/>
              <a:gd name="T27" fmla="*/ 4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7">
                <a:moveTo>
                  <a:pt x="43" y="45"/>
                </a:moveTo>
                <a:cubicBezTo>
                  <a:pt x="48" y="39"/>
                  <a:pt x="48" y="39"/>
                  <a:pt x="48" y="39"/>
                </a:cubicBezTo>
                <a:cubicBezTo>
                  <a:pt x="41" y="38"/>
                  <a:pt x="41" y="38"/>
                  <a:pt x="41" y="38"/>
                </a:cubicBezTo>
                <a:cubicBezTo>
                  <a:pt x="36" y="37"/>
                  <a:pt x="36" y="37"/>
                  <a:pt x="36" y="37"/>
                </a:cubicBezTo>
                <a:cubicBezTo>
                  <a:pt x="30" y="23"/>
                  <a:pt x="21" y="10"/>
                  <a:pt x="11" y="0"/>
                </a:cubicBezTo>
                <a:cubicBezTo>
                  <a:pt x="0" y="10"/>
                  <a:pt x="0" y="10"/>
                  <a:pt x="0" y="10"/>
                </a:cubicBezTo>
                <a:cubicBezTo>
                  <a:pt x="0" y="10"/>
                  <a:pt x="0" y="10"/>
                  <a:pt x="0" y="10"/>
                </a:cubicBezTo>
                <a:cubicBezTo>
                  <a:pt x="21" y="32"/>
                  <a:pt x="33" y="61"/>
                  <a:pt x="30" y="94"/>
                </a:cubicBezTo>
                <a:cubicBezTo>
                  <a:pt x="30" y="94"/>
                  <a:pt x="30" y="95"/>
                  <a:pt x="30" y="96"/>
                </a:cubicBezTo>
                <a:cubicBezTo>
                  <a:pt x="30" y="96"/>
                  <a:pt x="30" y="96"/>
                  <a:pt x="30" y="96"/>
                </a:cubicBezTo>
                <a:cubicBezTo>
                  <a:pt x="45" y="97"/>
                  <a:pt x="45" y="97"/>
                  <a:pt x="45" y="97"/>
                </a:cubicBezTo>
                <a:cubicBezTo>
                  <a:pt x="45" y="96"/>
                  <a:pt x="45" y="96"/>
                  <a:pt x="45" y="95"/>
                </a:cubicBezTo>
                <a:cubicBezTo>
                  <a:pt x="46" y="79"/>
                  <a:pt x="44" y="64"/>
                  <a:pt x="40" y="49"/>
                </a:cubicBezTo>
                <a:lnTo>
                  <a:pt x="43" y="45"/>
                </a:lnTo>
                <a:close/>
              </a:path>
            </a:pathLst>
          </a:custGeom>
          <a:solidFill>
            <a:srgbClr val="92D05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nvGrpSpPr>
          <p:cNvPr id="6" name="组合 5"/>
          <p:cNvGrpSpPr/>
          <p:nvPr/>
        </p:nvGrpSpPr>
        <p:grpSpPr>
          <a:xfrm>
            <a:off x="5320051" y="3267257"/>
            <a:ext cx="361191" cy="537059"/>
            <a:chOff x="5320051" y="3267257"/>
            <a:chExt cx="361191" cy="537059"/>
          </a:xfrm>
        </p:grpSpPr>
        <p:sp>
          <p:nvSpPr>
            <p:cNvPr id="80" name="Freeform 79"/>
            <p:cNvSpPr/>
            <p:nvPr/>
          </p:nvSpPr>
          <p:spPr bwMode="auto">
            <a:xfrm>
              <a:off x="5320051" y="3267257"/>
              <a:ext cx="315806" cy="537059"/>
            </a:xfrm>
            <a:custGeom>
              <a:avLst/>
              <a:gdLst>
                <a:gd name="T0" fmla="*/ 19 w 34"/>
                <a:gd name="T1" fmla="*/ 0 h 58"/>
                <a:gd name="T2" fmla="*/ 19 w 34"/>
                <a:gd name="T3" fmla="*/ 0 h 58"/>
                <a:gd name="T4" fmla="*/ 0 w 34"/>
                <a:gd name="T5" fmla="*/ 49 h 58"/>
                <a:gd name="T6" fmla="*/ 1 w 34"/>
                <a:gd name="T7" fmla="*/ 50 h 58"/>
                <a:gd name="T8" fmla="*/ 13 w 34"/>
                <a:gd name="T9" fmla="*/ 58 h 58"/>
                <a:gd name="T10" fmla="*/ 34 w 34"/>
                <a:gd name="T11" fmla="*/ 1 h 58"/>
                <a:gd name="T12" fmla="*/ 19 w 34"/>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4" h="58">
                  <a:moveTo>
                    <a:pt x="19" y="0"/>
                  </a:moveTo>
                  <a:cubicBezTo>
                    <a:pt x="19" y="0"/>
                    <a:pt x="19" y="0"/>
                    <a:pt x="19" y="0"/>
                  </a:cubicBezTo>
                  <a:cubicBezTo>
                    <a:pt x="17" y="18"/>
                    <a:pt x="10" y="35"/>
                    <a:pt x="0" y="49"/>
                  </a:cubicBezTo>
                  <a:cubicBezTo>
                    <a:pt x="1" y="50"/>
                    <a:pt x="1" y="50"/>
                    <a:pt x="1" y="50"/>
                  </a:cubicBezTo>
                  <a:cubicBezTo>
                    <a:pt x="13" y="58"/>
                    <a:pt x="13" y="58"/>
                    <a:pt x="13" y="58"/>
                  </a:cubicBezTo>
                  <a:cubicBezTo>
                    <a:pt x="24" y="42"/>
                    <a:pt x="31" y="22"/>
                    <a:pt x="34" y="1"/>
                  </a:cubicBezTo>
                  <a:lnTo>
                    <a:pt x="19" y="0"/>
                  </a:lnTo>
                  <a:close/>
                </a:path>
              </a:pathLst>
            </a:custGeom>
            <a:solidFill>
              <a:srgbClr val="88BA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3" name="Freeform 82"/>
            <p:cNvSpPr/>
            <p:nvPr/>
          </p:nvSpPr>
          <p:spPr bwMode="auto">
            <a:xfrm>
              <a:off x="5543195" y="3471491"/>
              <a:ext cx="138047" cy="128592"/>
            </a:xfrm>
            <a:custGeom>
              <a:avLst/>
              <a:gdLst>
                <a:gd name="T0" fmla="*/ 73 w 73"/>
                <a:gd name="T1" fmla="*/ 59 h 68"/>
                <a:gd name="T2" fmla="*/ 34 w 73"/>
                <a:gd name="T3" fmla="*/ 63 h 68"/>
                <a:gd name="T4" fmla="*/ 0 w 73"/>
                <a:gd name="T5" fmla="*/ 68 h 68"/>
                <a:gd name="T6" fmla="*/ 9 w 73"/>
                <a:gd name="T7" fmla="*/ 34 h 68"/>
                <a:gd name="T8" fmla="*/ 24 w 73"/>
                <a:gd name="T9" fmla="*/ 0 h 68"/>
                <a:gd name="T10" fmla="*/ 49 w 73"/>
                <a:gd name="T11" fmla="*/ 29 h 68"/>
                <a:gd name="T12" fmla="*/ 73 w 73"/>
                <a:gd name="T13" fmla="*/ 59 h 68"/>
              </a:gdLst>
              <a:ahLst/>
              <a:cxnLst>
                <a:cxn ang="0">
                  <a:pos x="T0" y="T1"/>
                </a:cxn>
                <a:cxn ang="0">
                  <a:pos x="T2" y="T3"/>
                </a:cxn>
                <a:cxn ang="0">
                  <a:pos x="T4" y="T5"/>
                </a:cxn>
                <a:cxn ang="0">
                  <a:pos x="T6" y="T7"/>
                </a:cxn>
                <a:cxn ang="0">
                  <a:pos x="T8" y="T9"/>
                </a:cxn>
                <a:cxn ang="0">
                  <a:pos x="T10" y="T11"/>
                </a:cxn>
                <a:cxn ang="0">
                  <a:pos x="T12" y="T13"/>
                </a:cxn>
              </a:cxnLst>
              <a:rect l="0" t="0" r="r" b="b"/>
              <a:pathLst>
                <a:path w="73" h="68">
                  <a:moveTo>
                    <a:pt x="73" y="59"/>
                  </a:moveTo>
                  <a:lnTo>
                    <a:pt x="34" y="63"/>
                  </a:lnTo>
                  <a:lnTo>
                    <a:pt x="0" y="68"/>
                  </a:lnTo>
                  <a:lnTo>
                    <a:pt x="9" y="34"/>
                  </a:lnTo>
                  <a:lnTo>
                    <a:pt x="24" y="0"/>
                  </a:lnTo>
                  <a:lnTo>
                    <a:pt x="49" y="29"/>
                  </a:lnTo>
                  <a:lnTo>
                    <a:pt x="73" y="59"/>
                  </a:lnTo>
                  <a:close/>
                </a:path>
              </a:pathLst>
            </a:custGeom>
            <a:solidFill>
              <a:srgbClr val="88BA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8" name="组合 7"/>
          <p:cNvGrpSpPr/>
          <p:nvPr/>
        </p:nvGrpSpPr>
        <p:grpSpPr>
          <a:xfrm>
            <a:off x="4098431" y="3721110"/>
            <a:ext cx="1342647" cy="612701"/>
            <a:chOff x="4098431" y="3721110"/>
            <a:chExt cx="1342647" cy="612701"/>
          </a:xfrm>
        </p:grpSpPr>
        <p:sp>
          <p:nvSpPr>
            <p:cNvPr id="78" name="Freeform 77"/>
            <p:cNvSpPr/>
            <p:nvPr/>
          </p:nvSpPr>
          <p:spPr bwMode="auto">
            <a:xfrm>
              <a:off x="4098431" y="3721110"/>
              <a:ext cx="1342647" cy="603246"/>
            </a:xfrm>
            <a:custGeom>
              <a:avLst/>
              <a:gdLst>
                <a:gd name="T0" fmla="*/ 133 w 145"/>
                <a:gd name="T1" fmla="*/ 1 h 65"/>
                <a:gd name="T2" fmla="*/ 132 w 145"/>
                <a:gd name="T3" fmla="*/ 0 h 65"/>
                <a:gd name="T4" fmla="*/ 36 w 145"/>
                <a:gd name="T5" fmla="*/ 46 h 65"/>
                <a:gd name="T6" fmla="*/ 5 w 145"/>
                <a:gd name="T7" fmla="*/ 39 h 65"/>
                <a:gd name="T8" fmla="*/ 5 w 145"/>
                <a:gd name="T9" fmla="*/ 40 h 65"/>
                <a:gd name="T10" fmla="*/ 0 w 145"/>
                <a:gd name="T11" fmla="*/ 53 h 65"/>
                <a:gd name="T12" fmla="*/ 34 w 145"/>
                <a:gd name="T13" fmla="*/ 61 h 65"/>
                <a:gd name="T14" fmla="*/ 145 w 145"/>
                <a:gd name="T15" fmla="*/ 9 h 65"/>
                <a:gd name="T16" fmla="*/ 133 w 145"/>
                <a:gd name="T17" fmla="*/ 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65">
                  <a:moveTo>
                    <a:pt x="133" y="1"/>
                  </a:moveTo>
                  <a:cubicBezTo>
                    <a:pt x="132" y="0"/>
                    <a:pt x="132" y="0"/>
                    <a:pt x="132" y="0"/>
                  </a:cubicBezTo>
                  <a:cubicBezTo>
                    <a:pt x="111" y="31"/>
                    <a:pt x="75" y="49"/>
                    <a:pt x="36" y="46"/>
                  </a:cubicBezTo>
                  <a:cubicBezTo>
                    <a:pt x="25" y="45"/>
                    <a:pt x="15" y="43"/>
                    <a:pt x="5" y="39"/>
                  </a:cubicBezTo>
                  <a:cubicBezTo>
                    <a:pt x="5" y="40"/>
                    <a:pt x="5" y="40"/>
                    <a:pt x="5" y="40"/>
                  </a:cubicBezTo>
                  <a:cubicBezTo>
                    <a:pt x="0" y="53"/>
                    <a:pt x="0" y="53"/>
                    <a:pt x="0" y="53"/>
                  </a:cubicBezTo>
                  <a:cubicBezTo>
                    <a:pt x="11" y="57"/>
                    <a:pt x="22" y="60"/>
                    <a:pt x="34" y="61"/>
                  </a:cubicBezTo>
                  <a:cubicBezTo>
                    <a:pt x="79" y="65"/>
                    <a:pt x="121" y="44"/>
                    <a:pt x="145" y="9"/>
                  </a:cubicBezTo>
                  <a:lnTo>
                    <a:pt x="133" y="1"/>
                  </a:lnTo>
                  <a:close/>
                </a:path>
              </a:pathLst>
            </a:custGeom>
            <a:solidFill>
              <a:srgbClr val="E149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4" name="Freeform 83"/>
            <p:cNvSpPr/>
            <p:nvPr/>
          </p:nvSpPr>
          <p:spPr bwMode="auto">
            <a:xfrm>
              <a:off x="4839724" y="4195764"/>
              <a:ext cx="128592" cy="138047"/>
            </a:xfrm>
            <a:custGeom>
              <a:avLst/>
              <a:gdLst>
                <a:gd name="T0" fmla="*/ 53 w 68"/>
                <a:gd name="T1" fmla="*/ 73 h 73"/>
                <a:gd name="T2" fmla="*/ 29 w 68"/>
                <a:gd name="T3" fmla="*/ 49 h 73"/>
                <a:gd name="T4" fmla="*/ 0 w 68"/>
                <a:gd name="T5" fmla="*/ 24 h 73"/>
                <a:gd name="T6" fmla="*/ 34 w 68"/>
                <a:gd name="T7" fmla="*/ 9 h 73"/>
                <a:gd name="T8" fmla="*/ 68 w 68"/>
                <a:gd name="T9" fmla="*/ 0 h 73"/>
                <a:gd name="T10" fmla="*/ 63 w 68"/>
                <a:gd name="T11" fmla="*/ 34 h 73"/>
                <a:gd name="T12" fmla="*/ 53 w 68"/>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68" h="73">
                  <a:moveTo>
                    <a:pt x="53" y="73"/>
                  </a:moveTo>
                  <a:lnTo>
                    <a:pt x="29" y="49"/>
                  </a:lnTo>
                  <a:lnTo>
                    <a:pt x="0" y="24"/>
                  </a:lnTo>
                  <a:lnTo>
                    <a:pt x="34" y="9"/>
                  </a:lnTo>
                  <a:lnTo>
                    <a:pt x="68" y="0"/>
                  </a:lnTo>
                  <a:lnTo>
                    <a:pt x="63" y="34"/>
                  </a:lnTo>
                  <a:lnTo>
                    <a:pt x="53" y="73"/>
                  </a:lnTo>
                  <a:close/>
                </a:path>
              </a:pathLst>
            </a:custGeom>
            <a:solidFill>
              <a:srgbClr val="E149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10" name="组合 9"/>
          <p:cNvGrpSpPr/>
          <p:nvPr/>
        </p:nvGrpSpPr>
        <p:grpSpPr>
          <a:xfrm>
            <a:off x="3423325" y="3424214"/>
            <a:ext cx="720491" cy="788569"/>
            <a:chOff x="3423325" y="3424214"/>
            <a:chExt cx="720491" cy="788569"/>
          </a:xfrm>
        </p:grpSpPr>
        <p:sp>
          <p:nvSpPr>
            <p:cNvPr id="76" name="Freeform 75"/>
            <p:cNvSpPr/>
            <p:nvPr/>
          </p:nvSpPr>
          <p:spPr bwMode="auto">
            <a:xfrm>
              <a:off x="3423325" y="3424214"/>
              <a:ext cx="720491" cy="788569"/>
            </a:xfrm>
            <a:custGeom>
              <a:avLst/>
              <a:gdLst>
                <a:gd name="T0" fmla="*/ 14 w 78"/>
                <a:gd name="T1" fmla="*/ 0 h 85"/>
                <a:gd name="T2" fmla="*/ 14 w 78"/>
                <a:gd name="T3" fmla="*/ 0 h 85"/>
                <a:gd name="T4" fmla="*/ 0 w 78"/>
                <a:gd name="T5" fmla="*/ 3 h 85"/>
                <a:gd name="T6" fmla="*/ 73 w 78"/>
                <a:gd name="T7" fmla="*/ 85 h 85"/>
                <a:gd name="T8" fmla="*/ 78 w 78"/>
                <a:gd name="T9" fmla="*/ 72 h 85"/>
                <a:gd name="T10" fmla="*/ 78 w 78"/>
                <a:gd name="T11" fmla="*/ 71 h 85"/>
                <a:gd name="T12" fmla="*/ 14 w 78"/>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78" h="85">
                  <a:moveTo>
                    <a:pt x="14" y="0"/>
                  </a:moveTo>
                  <a:cubicBezTo>
                    <a:pt x="14" y="0"/>
                    <a:pt x="14" y="0"/>
                    <a:pt x="14" y="0"/>
                  </a:cubicBezTo>
                  <a:cubicBezTo>
                    <a:pt x="0" y="3"/>
                    <a:pt x="0" y="3"/>
                    <a:pt x="0" y="3"/>
                  </a:cubicBezTo>
                  <a:cubicBezTo>
                    <a:pt x="10" y="40"/>
                    <a:pt x="37" y="71"/>
                    <a:pt x="73" y="85"/>
                  </a:cubicBezTo>
                  <a:cubicBezTo>
                    <a:pt x="78" y="72"/>
                    <a:pt x="78" y="72"/>
                    <a:pt x="78" y="72"/>
                  </a:cubicBezTo>
                  <a:cubicBezTo>
                    <a:pt x="78" y="71"/>
                    <a:pt x="78" y="71"/>
                    <a:pt x="78" y="71"/>
                  </a:cubicBezTo>
                  <a:cubicBezTo>
                    <a:pt x="47" y="59"/>
                    <a:pt x="23" y="32"/>
                    <a:pt x="14" y="0"/>
                  </a:cubicBezTo>
                  <a:close/>
                </a:path>
              </a:pathLst>
            </a:custGeom>
            <a:solidFill>
              <a:srgbClr val="88BA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5" name="Freeform 84"/>
            <p:cNvSpPr/>
            <p:nvPr/>
          </p:nvSpPr>
          <p:spPr bwMode="auto">
            <a:xfrm>
              <a:off x="3561372" y="3832682"/>
              <a:ext cx="138047" cy="130483"/>
            </a:xfrm>
            <a:custGeom>
              <a:avLst/>
              <a:gdLst>
                <a:gd name="T0" fmla="*/ 0 w 73"/>
                <a:gd name="T1" fmla="*/ 69 h 69"/>
                <a:gd name="T2" fmla="*/ 15 w 73"/>
                <a:gd name="T3" fmla="*/ 34 h 69"/>
                <a:gd name="T4" fmla="*/ 24 w 73"/>
                <a:gd name="T5" fmla="*/ 0 h 69"/>
                <a:gd name="T6" fmla="*/ 49 w 73"/>
                <a:gd name="T7" fmla="*/ 30 h 69"/>
                <a:gd name="T8" fmla="*/ 73 w 73"/>
                <a:gd name="T9" fmla="*/ 54 h 69"/>
                <a:gd name="T10" fmla="*/ 39 w 73"/>
                <a:gd name="T11" fmla="*/ 64 h 69"/>
                <a:gd name="T12" fmla="*/ 0 w 73"/>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73" h="69">
                  <a:moveTo>
                    <a:pt x="0" y="69"/>
                  </a:moveTo>
                  <a:lnTo>
                    <a:pt x="15" y="34"/>
                  </a:lnTo>
                  <a:lnTo>
                    <a:pt x="24" y="0"/>
                  </a:lnTo>
                  <a:lnTo>
                    <a:pt x="49" y="30"/>
                  </a:lnTo>
                  <a:lnTo>
                    <a:pt x="73" y="54"/>
                  </a:lnTo>
                  <a:lnTo>
                    <a:pt x="39" y="64"/>
                  </a:lnTo>
                  <a:lnTo>
                    <a:pt x="0" y="69"/>
                  </a:lnTo>
                  <a:close/>
                </a:path>
              </a:pathLst>
            </a:custGeom>
            <a:solidFill>
              <a:srgbClr val="88BA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153" name="组合 152"/>
          <p:cNvGrpSpPr/>
          <p:nvPr/>
        </p:nvGrpSpPr>
        <p:grpSpPr>
          <a:xfrm>
            <a:off x="3338228" y="2329295"/>
            <a:ext cx="501129" cy="1123286"/>
            <a:chOff x="3338228" y="2192968"/>
            <a:chExt cx="501129" cy="1123286"/>
          </a:xfrm>
        </p:grpSpPr>
        <p:sp>
          <p:nvSpPr>
            <p:cNvPr id="79" name="Freeform 78"/>
            <p:cNvSpPr/>
            <p:nvPr/>
          </p:nvSpPr>
          <p:spPr bwMode="auto">
            <a:xfrm>
              <a:off x="3376049" y="2192968"/>
              <a:ext cx="463308" cy="1123286"/>
            </a:xfrm>
            <a:custGeom>
              <a:avLst/>
              <a:gdLst>
                <a:gd name="T0" fmla="*/ 50 w 50"/>
                <a:gd name="T1" fmla="*/ 11 h 121"/>
                <a:gd name="T2" fmla="*/ 50 w 50"/>
                <a:gd name="T3" fmla="*/ 11 h 121"/>
                <a:gd name="T4" fmla="*/ 40 w 50"/>
                <a:gd name="T5" fmla="*/ 0 h 121"/>
                <a:gd name="T6" fmla="*/ 1 w 50"/>
                <a:gd name="T7" fmla="*/ 80 h 121"/>
                <a:gd name="T8" fmla="*/ 5 w 50"/>
                <a:gd name="T9" fmla="*/ 121 h 121"/>
                <a:gd name="T10" fmla="*/ 19 w 50"/>
                <a:gd name="T11" fmla="*/ 118 h 121"/>
                <a:gd name="T12" fmla="*/ 19 w 50"/>
                <a:gd name="T13" fmla="*/ 118 h 121"/>
                <a:gd name="T14" fmla="*/ 16 w 50"/>
                <a:gd name="T15" fmla="*/ 81 h 121"/>
                <a:gd name="T16" fmla="*/ 50 w 50"/>
                <a:gd name="T17" fmla="*/ 1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21">
                  <a:moveTo>
                    <a:pt x="50" y="11"/>
                  </a:moveTo>
                  <a:cubicBezTo>
                    <a:pt x="50" y="11"/>
                    <a:pt x="50" y="11"/>
                    <a:pt x="50" y="11"/>
                  </a:cubicBezTo>
                  <a:cubicBezTo>
                    <a:pt x="40" y="0"/>
                    <a:pt x="40" y="0"/>
                    <a:pt x="40" y="0"/>
                  </a:cubicBezTo>
                  <a:cubicBezTo>
                    <a:pt x="18" y="20"/>
                    <a:pt x="4" y="48"/>
                    <a:pt x="1" y="80"/>
                  </a:cubicBezTo>
                  <a:cubicBezTo>
                    <a:pt x="0" y="94"/>
                    <a:pt x="1" y="108"/>
                    <a:pt x="5" y="121"/>
                  </a:cubicBezTo>
                  <a:cubicBezTo>
                    <a:pt x="19" y="118"/>
                    <a:pt x="19" y="118"/>
                    <a:pt x="19" y="118"/>
                  </a:cubicBezTo>
                  <a:cubicBezTo>
                    <a:pt x="19" y="118"/>
                    <a:pt x="19" y="118"/>
                    <a:pt x="19" y="118"/>
                  </a:cubicBezTo>
                  <a:cubicBezTo>
                    <a:pt x="16" y="106"/>
                    <a:pt x="15" y="94"/>
                    <a:pt x="16" y="81"/>
                  </a:cubicBezTo>
                  <a:cubicBezTo>
                    <a:pt x="18" y="53"/>
                    <a:pt x="31" y="29"/>
                    <a:pt x="50" y="11"/>
                  </a:cubicBezTo>
                  <a:close/>
                </a:path>
              </a:pathLst>
            </a:custGeom>
            <a:solidFill>
              <a:srgbClr val="00B0F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86" name="Freeform 85"/>
            <p:cNvSpPr/>
            <p:nvPr/>
          </p:nvSpPr>
          <p:spPr bwMode="auto">
            <a:xfrm>
              <a:off x="3338228" y="2629801"/>
              <a:ext cx="130483" cy="128592"/>
            </a:xfrm>
            <a:custGeom>
              <a:avLst/>
              <a:gdLst>
                <a:gd name="T0" fmla="*/ 0 w 69"/>
                <a:gd name="T1" fmla="*/ 14 h 68"/>
                <a:gd name="T2" fmla="*/ 35 w 69"/>
                <a:gd name="T3" fmla="*/ 9 h 68"/>
                <a:gd name="T4" fmla="*/ 69 w 69"/>
                <a:gd name="T5" fmla="*/ 0 h 68"/>
                <a:gd name="T6" fmla="*/ 59 w 69"/>
                <a:gd name="T7" fmla="*/ 34 h 68"/>
                <a:gd name="T8" fmla="*/ 45 w 69"/>
                <a:gd name="T9" fmla="*/ 68 h 68"/>
                <a:gd name="T10" fmla="*/ 20 w 69"/>
                <a:gd name="T11" fmla="*/ 44 h 68"/>
                <a:gd name="T12" fmla="*/ 0 w 69"/>
                <a:gd name="T13" fmla="*/ 14 h 68"/>
              </a:gdLst>
              <a:ahLst/>
              <a:cxnLst>
                <a:cxn ang="0">
                  <a:pos x="T0" y="T1"/>
                </a:cxn>
                <a:cxn ang="0">
                  <a:pos x="T2" y="T3"/>
                </a:cxn>
                <a:cxn ang="0">
                  <a:pos x="T4" y="T5"/>
                </a:cxn>
                <a:cxn ang="0">
                  <a:pos x="T6" y="T7"/>
                </a:cxn>
                <a:cxn ang="0">
                  <a:pos x="T8" y="T9"/>
                </a:cxn>
                <a:cxn ang="0">
                  <a:pos x="T10" y="T11"/>
                </a:cxn>
                <a:cxn ang="0">
                  <a:pos x="T12" y="T13"/>
                </a:cxn>
              </a:cxnLst>
              <a:rect l="0" t="0" r="r" b="b"/>
              <a:pathLst>
                <a:path w="69" h="68">
                  <a:moveTo>
                    <a:pt x="0" y="14"/>
                  </a:moveTo>
                  <a:lnTo>
                    <a:pt x="35" y="9"/>
                  </a:lnTo>
                  <a:lnTo>
                    <a:pt x="69" y="0"/>
                  </a:lnTo>
                  <a:lnTo>
                    <a:pt x="59" y="34"/>
                  </a:lnTo>
                  <a:lnTo>
                    <a:pt x="45" y="68"/>
                  </a:lnTo>
                  <a:lnTo>
                    <a:pt x="20" y="44"/>
                  </a:lnTo>
                  <a:lnTo>
                    <a:pt x="0" y="14"/>
                  </a:lnTo>
                  <a:close/>
                </a:path>
              </a:pathLst>
            </a:custGeom>
            <a:solidFill>
              <a:srgbClr val="00B0F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sp>
        <p:nvSpPr>
          <p:cNvPr id="155" name="矩形 154"/>
          <p:cNvSpPr/>
          <p:nvPr/>
        </p:nvSpPr>
        <p:spPr>
          <a:xfrm>
            <a:off x="3696698" y="2872900"/>
            <a:ext cx="1728192" cy="350865"/>
          </a:xfrm>
          <a:prstGeom prst="rect">
            <a:avLst/>
          </a:prstGeom>
        </p:spPr>
        <p:txBody>
          <a:bodyPr wrap="square">
            <a:spAutoFit/>
          </a:bodyPr>
          <a:lstStyle/>
          <a:p>
            <a:pPr algn="ctr">
              <a:lnSpc>
                <a:spcPct val="120000"/>
              </a:lnSpc>
            </a:pPr>
            <a:r>
              <a:rPr lang="zh-CN" altLang="en-US" sz="1400" b="1" dirty="0">
                <a:solidFill>
                  <a:schemeClr val="tx1">
                    <a:lumMod val="75000"/>
                    <a:lumOff val="25000"/>
                  </a:schemeClr>
                </a:solidFill>
                <a:latin typeface="方正兰亭超细黑简体" panose="02000000000000000000" pitchFamily="2" charset="-122"/>
                <a:ea typeface="方正兰亭超细黑简体" panose="02000000000000000000" pitchFamily="2" charset="-122"/>
              </a:rPr>
              <a:t>输入你的文本输入</a:t>
            </a:r>
          </a:p>
        </p:txBody>
      </p:sp>
      <p:sp>
        <p:nvSpPr>
          <p:cNvPr id="156" name="矩形 155"/>
          <p:cNvSpPr/>
          <p:nvPr/>
        </p:nvSpPr>
        <p:spPr>
          <a:xfrm>
            <a:off x="3896623" y="3163113"/>
            <a:ext cx="1392619" cy="286232"/>
          </a:xfrm>
          <a:prstGeom prst="rect">
            <a:avLst/>
          </a:prstGeom>
        </p:spPr>
        <p:txBody>
          <a:bodyPr wrap="square">
            <a:spAutoFit/>
          </a:bodyPr>
          <a:lstStyle/>
          <a:p>
            <a:pPr>
              <a:lnSpc>
                <a:spcPct val="120000"/>
              </a:lnSpc>
            </a:pPr>
            <a:r>
              <a:rPr lang="zh-CN" altLang="en-US" sz="1050" dirty="0">
                <a:latin typeface="方正兰亭超细黑简体" panose="02000000000000000000" pitchFamily="2" charset="-122"/>
                <a:ea typeface="方正兰亭超细黑简体" panose="02000000000000000000" pitchFamily="2" charset="-122"/>
              </a:rPr>
              <a:t>文本输入你的文本</a:t>
            </a:r>
          </a:p>
        </p:txBody>
      </p:sp>
      <p:grpSp>
        <p:nvGrpSpPr>
          <p:cNvPr id="3" name="组合 2"/>
          <p:cNvGrpSpPr/>
          <p:nvPr/>
        </p:nvGrpSpPr>
        <p:grpSpPr>
          <a:xfrm>
            <a:off x="3519379" y="1401962"/>
            <a:ext cx="1931753" cy="387798"/>
            <a:chOff x="3519379" y="1401962"/>
            <a:chExt cx="1931753" cy="387798"/>
          </a:xfrm>
        </p:grpSpPr>
        <p:sp>
          <p:nvSpPr>
            <p:cNvPr id="120" name="Rectangle 119"/>
            <p:cNvSpPr>
              <a:spLocks noChangeArrowheads="1"/>
            </p:cNvSpPr>
            <p:nvPr/>
          </p:nvSpPr>
          <p:spPr bwMode="auto">
            <a:xfrm>
              <a:off x="3519379" y="1475238"/>
              <a:ext cx="1907969" cy="254626"/>
            </a:xfrm>
            <a:prstGeom prst="rect">
              <a:avLst/>
            </a:prstGeom>
            <a:solidFill>
              <a:srgbClr val="EBA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57" name="矩形 156"/>
            <p:cNvSpPr/>
            <p:nvPr/>
          </p:nvSpPr>
          <p:spPr>
            <a:xfrm>
              <a:off x="3624991" y="1401962"/>
              <a:ext cx="1826141" cy="387798"/>
            </a:xfrm>
            <a:prstGeom prst="rect">
              <a:avLst/>
            </a:prstGeom>
          </p:spPr>
          <p:txBody>
            <a:bodyPr wrap="none">
              <a:spAutoFit/>
            </a:bodyPr>
            <a:lstStyle/>
            <a:p>
              <a:pPr algn="ctr">
                <a:lnSpc>
                  <a:spcPct val="120000"/>
                </a:lnSpc>
              </a:pPr>
              <a:r>
                <a:rPr lang="zh-CN" altLang="en-US" sz="1600" dirty="0">
                  <a:solidFill>
                    <a:schemeClr val="tx1">
                      <a:lumMod val="75000"/>
                      <a:lumOff val="25000"/>
                    </a:schemeClr>
                  </a:solidFill>
                  <a:latin typeface="方正兰亭超细黑简体" panose="02000000000000000000" pitchFamily="2" charset="-122"/>
                  <a:ea typeface="方正兰亭超细黑简体" panose="02000000000000000000" pitchFamily="2" charset="-122"/>
                </a:rPr>
                <a:t>输入你的文本输入</a:t>
              </a:r>
            </a:p>
          </p:txBody>
        </p:sp>
      </p:grpSp>
      <p:grpSp>
        <p:nvGrpSpPr>
          <p:cNvPr id="5" name="组合 4"/>
          <p:cNvGrpSpPr/>
          <p:nvPr/>
        </p:nvGrpSpPr>
        <p:grpSpPr>
          <a:xfrm>
            <a:off x="5773813" y="2490880"/>
            <a:ext cx="1887451" cy="387798"/>
            <a:chOff x="5773813" y="2490880"/>
            <a:chExt cx="1887451" cy="387798"/>
          </a:xfrm>
        </p:grpSpPr>
        <p:sp>
          <p:nvSpPr>
            <p:cNvPr id="109" name="Rectangle 108"/>
            <p:cNvSpPr>
              <a:spLocks noChangeArrowheads="1"/>
            </p:cNvSpPr>
            <p:nvPr/>
          </p:nvSpPr>
          <p:spPr bwMode="auto">
            <a:xfrm>
              <a:off x="5773813" y="2547432"/>
              <a:ext cx="1887451" cy="254626"/>
            </a:xfrm>
            <a:prstGeom prst="rect">
              <a:avLst/>
            </a:prstGeom>
            <a:solidFill>
              <a:srgbClr val="00B05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58" name="矩形 157"/>
            <p:cNvSpPr/>
            <p:nvPr/>
          </p:nvSpPr>
          <p:spPr>
            <a:xfrm>
              <a:off x="5825964" y="2490880"/>
              <a:ext cx="1826141" cy="387798"/>
            </a:xfrm>
            <a:prstGeom prst="rect">
              <a:avLst/>
            </a:prstGeom>
          </p:spPr>
          <p:txBody>
            <a:bodyPr wrap="none">
              <a:spAutoFit/>
            </a:bodyPr>
            <a:lstStyle/>
            <a:p>
              <a:pPr algn="ctr">
                <a:lnSpc>
                  <a:spcPct val="120000"/>
                </a:lnSpc>
              </a:pPr>
              <a:r>
                <a:rPr lang="zh-CN" altLang="en-US" sz="1600" dirty="0">
                  <a:solidFill>
                    <a:schemeClr val="bg1"/>
                  </a:solidFill>
                  <a:latin typeface="方正兰亭超细黑简体" panose="02000000000000000000" pitchFamily="2" charset="-122"/>
                  <a:ea typeface="方正兰亭超细黑简体" panose="02000000000000000000" pitchFamily="2" charset="-122"/>
                </a:rPr>
                <a:t>输入你的文本输入</a:t>
              </a:r>
            </a:p>
          </p:txBody>
        </p:sp>
      </p:grpSp>
      <p:grpSp>
        <p:nvGrpSpPr>
          <p:cNvPr id="7" name="组合 6"/>
          <p:cNvGrpSpPr/>
          <p:nvPr/>
        </p:nvGrpSpPr>
        <p:grpSpPr>
          <a:xfrm>
            <a:off x="5825964" y="3374644"/>
            <a:ext cx="1899595" cy="387798"/>
            <a:chOff x="5825964" y="3374644"/>
            <a:chExt cx="1899595" cy="387798"/>
          </a:xfrm>
        </p:grpSpPr>
        <p:sp>
          <p:nvSpPr>
            <p:cNvPr id="98" name="Rectangle 97"/>
            <p:cNvSpPr>
              <a:spLocks noChangeArrowheads="1"/>
            </p:cNvSpPr>
            <p:nvPr/>
          </p:nvSpPr>
          <p:spPr bwMode="auto">
            <a:xfrm>
              <a:off x="5838108" y="3438118"/>
              <a:ext cx="1887451" cy="254626"/>
            </a:xfrm>
            <a:prstGeom prst="rect">
              <a:avLst/>
            </a:prstGeom>
            <a:solidFill>
              <a:srgbClr val="88BA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59" name="矩形 158"/>
            <p:cNvSpPr/>
            <p:nvPr/>
          </p:nvSpPr>
          <p:spPr>
            <a:xfrm>
              <a:off x="5825964" y="3374644"/>
              <a:ext cx="1826141" cy="387798"/>
            </a:xfrm>
            <a:prstGeom prst="rect">
              <a:avLst/>
            </a:prstGeom>
          </p:spPr>
          <p:txBody>
            <a:bodyPr wrap="none">
              <a:spAutoFit/>
            </a:bodyPr>
            <a:lstStyle/>
            <a:p>
              <a:pPr algn="ctr">
                <a:lnSpc>
                  <a:spcPct val="120000"/>
                </a:lnSpc>
              </a:pPr>
              <a:r>
                <a:rPr lang="zh-CN" altLang="en-US" sz="1600" dirty="0">
                  <a:solidFill>
                    <a:schemeClr val="bg1"/>
                  </a:solidFill>
                  <a:latin typeface="方正兰亭超细黑简体" panose="02000000000000000000" pitchFamily="2" charset="-122"/>
                  <a:ea typeface="方正兰亭超细黑简体" panose="02000000000000000000" pitchFamily="2" charset="-122"/>
                </a:rPr>
                <a:t>输入你的文本输入</a:t>
              </a:r>
            </a:p>
          </p:txBody>
        </p:sp>
      </p:grpSp>
      <p:grpSp>
        <p:nvGrpSpPr>
          <p:cNvPr id="9" name="组合 8"/>
          <p:cNvGrpSpPr/>
          <p:nvPr/>
        </p:nvGrpSpPr>
        <p:grpSpPr>
          <a:xfrm>
            <a:off x="3959853" y="4361979"/>
            <a:ext cx="1891554" cy="387798"/>
            <a:chOff x="3959853" y="4361979"/>
            <a:chExt cx="1891554" cy="387798"/>
          </a:xfrm>
        </p:grpSpPr>
        <p:sp>
          <p:nvSpPr>
            <p:cNvPr id="142" name="Rectangle 141"/>
            <p:cNvSpPr>
              <a:spLocks noChangeArrowheads="1"/>
            </p:cNvSpPr>
            <p:nvPr/>
          </p:nvSpPr>
          <p:spPr bwMode="auto">
            <a:xfrm>
              <a:off x="3959853" y="4439529"/>
              <a:ext cx="1891554" cy="257364"/>
            </a:xfrm>
            <a:prstGeom prst="rect">
              <a:avLst/>
            </a:prstGeom>
            <a:solidFill>
              <a:srgbClr val="E1491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60" name="矩形 159"/>
            <p:cNvSpPr/>
            <p:nvPr/>
          </p:nvSpPr>
          <p:spPr>
            <a:xfrm>
              <a:off x="4006495" y="4361979"/>
              <a:ext cx="1826141" cy="387798"/>
            </a:xfrm>
            <a:prstGeom prst="rect">
              <a:avLst/>
            </a:prstGeom>
          </p:spPr>
          <p:txBody>
            <a:bodyPr wrap="none">
              <a:spAutoFit/>
            </a:bodyPr>
            <a:lstStyle/>
            <a:p>
              <a:pPr algn="ctr">
                <a:lnSpc>
                  <a:spcPct val="120000"/>
                </a:lnSpc>
              </a:pPr>
              <a:r>
                <a:rPr lang="zh-CN" altLang="en-US" sz="1600" dirty="0">
                  <a:solidFill>
                    <a:schemeClr val="bg1"/>
                  </a:solidFill>
                  <a:latin typeface="方正兰亭超细黑简体" panose="02000000000000000000" pitchFamily="2" charset="-122"/>
                  <a:ea typeface="方正兰亭超细黑简体" panose="02000000000000000000" pitchFamily="2" charset="-122"/>
                </a:rPr>
                <a:t>输入你的文本输入</a:t>
              </a:r>
            </a:p>
          </p:txBody>
        </p:sp>
      </p:grpSp>
      <p:grpSp>
        <p:nvGrpSpPr>
          <p:cNvPr id="11" name="组合 10"/>
          <p:cNvGrpSpPr/>
          <p:nvPr/>
        </p:nvGrpSpPr>
        <p:grpSpPr>
          <a:xfrm>
            <a:off x="1552894" y="3884586"/>
            <a:ext cx="1887451" cy="387798"/>
            <a:chOff x="1552894" y="3884586"/>
            <a:chExt cx="1887451" cy="387798"/>
          </a:xfrm>
        </p:grpSpPr>
        <p:sp>
          <p:nvSpPr>
            <p:cNvPr id="87" name="Rectangle 86"/>
            <p:cNvSpPr>
              <a:spLocks noChangeArrowheads="1"/>
            </p:cNvSpPr>
            <p:nvPr/>
          </p:nvSpPr>
          <p:spPr bwMode="auto">
            <a:xfrm>
              <a:off x="1552894" y="3941138"/>
              <a:ext cx="1887451" cy="254626"/>
            </a:xfrm>
            <a:prstGeom prst="rect">
              <a:avLst/>
            </a:prstGeom>
            <a:solidFill>
              <a:srgbClr val="88BA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61" name="矩形 160"/>
            <p:cNvSpPr/>
            <p:nvPr/>
          </p:nvSpPr>
          <p:spPr>
            <a:xfrm>
              <a:off x="1575039" y="3884586"/>
              <a:ext cx="1826141" cy="387798"/>
            </a:xfrm>
            <a:prstGeom prst="rect">
              <a:avLst/>
            </a:prstGeom>
          </p:spPr>
          <p:txBody>
            <a:bodyPr wrap="none">
              <a:spAutoFit/>
            </a:bodyPr>
            <a:lstStyle/>
            <a:p>
              <a:pPr algn="ctr">
                <a:lnSpc>
                  <a:spcPct val="120000"/>
                </a:lnSpc>
              </a:pPr>
              <a:r>
                <a:rPr lang="zh-CN" altLang="en-US" sz="1600" dirty="0">
                  <a:solidFill>
                    <a:schemeClr val="bg1"/>
                  </a:solidFill>
                  <a:latin typeface="方正兰亭超细黑简体" panose="02000000000000000000" pitchFamily="2" charset="-122"/>
                  <a:ea typeface="方正兰亭超细黑简体" panose="02000000000000000000" pitchFamily="2" charset="-122"/>
                </a:rPr>
                <a:t>输入你的文本输入</a:t>
              </a:r>
            </a:p>
          </p:txBody>
        </p:sp>
      </p:grpSp>
      <p:grpSp>
        <p:nvGrpSpPr>
          <p:cNvPr id="2" name="组合 1"/>
          <p:cNvGrpSpPr/>
          <p:nvPr/>
        </p:nvGrpSpPr>
        <p:grpSpPr>
          <a:xfrm>
            <a:off x="1331640" y="2582263"/>
            <a:ext cx="1887451" cy="387798"/>
            <a:chOff x="1331640" y="2582263"/>
            <a:chExt cx="1887451" cy="387798"/>
          </a:xfrm>
        </p:grpSpPr>
        <p:sp>
          <p:nvSpPr>
            <p:cNvPr id="131" name="Rectangle 130"/>
            <p:cNvSpPr>
              <a:spLocks noChangeArrowheads="1"/>
            </p:cNvSpPr>
            <p:nvPr/>
          </p:nvSpPr>
          <p:spPr bwMode="auto">
            <a:xfrm>
              <a:off x="1331640" y="2638815"/>
              <a:ext cx="1887451" cy="254626"/>
            </a:xfrm>
            <a:prstGeom prst="rect">
              <a:avLst/>
            </a:prstGeom>
            <a:solidFill>
              <a:srgbClr val="0070C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63" name="矩形 162"/>
            <p:cNvSpPr/>
            <p:nvPr/>
          </p:nvSpPr>
          <p:spPr>
            <a:xfrm>
              <a:off x="1331640" y="2582263"/>
              <a:ext cx="1826141" cy="387798"/>
            </a:xfrm>
            <a:prstGeom prst="rect">
              <a:avLst/>
            </a:prstGeom>
          </p:spPr>
          <p:txBody>
            <a:bodyPr wrap="none">
              <a:spAutoFit/>
            </a:bodyPr>
            <a:lstStyle/>
            <a:p>
              <a:pPr algn="ctr">
                <a:lnSpc>
                  <a:spcPct val="120000"/>
                </a:lnSpc>
              </a:pPr>
              <a:r>
                <a:rPr lang="zh-CN" altLang="en-US" sz="1600" dirty="0">
                  <a:solidFill>
                    <a:schemeClr val="bg1"/>
                  </a:solidFill>
                  <a:latin typeface="方正兰亭超细黑简体" panose="02000000000000000000" pitchFamily="2" charset="-122"/>
                  <a:ea typeface="方正兰亭超细黑简体" panose="02000000000000000000" pitchFamily="2" charset="-122"/>
                </a:rPr>
                <a:t>输入你的文本输入</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250"/>
                                        <p:tgtEl>
                                          <p:spTgt spid="7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1"/>
                                        </p:tgtEl>
                                        <p:attrNameLst>
                                          <p:attrName>style.visibility</p:attrName>
                                        </p:attrNameLst>
                                      </p:cBhvr>
                                      <p:to>
                                        <p:strVal val="visible"/>
                                      </p:to>
                                    </p:set>
                                    <p:animEffect transition="in" filter="fade">
                                      <p:cBhvr>
                                        <p:cTn id="11" dur="250"/>
                                        <p:tgtEl>
                                          <p:spTgt spid="7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250"/>
                                        <p:tgtEl>
                                          <p:spTgt spid="7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2"/>
                                        </p:tgtEl>
                                        <p:attrNameLst>
                                          <p:attrName>style.visibility</p:attrName>
                                        </p:attrNameLst>
                                      </p:cBhvr>
                                      <p:to>
                                        <p:strVal val="visible"/>
                                      </p:to>
                                    </p:set>
                                    <p:animEffect transition="in" filter="fade">
                                      <p:cBhvr>
                                        <p:cTn id="19" dur="250"/>
                                        <p:tgtEl>
                                          <p:spTgt spid="72"/>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75"/>
                                        </p:tgtEl>
                                        <p:attrNameLst>
                                          <p:attrName>style.visibility</p:attrName>
                                        </p:attrNameLst>
                                      </p:cBhvr>
                                      <p:to>
                                        <p:strVal val="visible"/>
                                      </p:to>
                                    </p:set>
                                    <p:animEffect transition="in" filter="fade">
                                      <p:cBhvr>
                                        <p:cTn id="23" dur="250"/>
                                        <p:tgtEl>
                                          <p:spTgt spid="7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73"/>
                                        </p:tgtEl>
                                        <p:attrNameLst>
                                          <p:attrName>style.visibility</p:attrName>
                                        </p:attrNameLst>
                                      </p:cBhvr>
                                      <p:to>
                                        <p:strVal val="visible"/>
                                      </p:to>
                                    </p:set>
                                    <p:animEffect transition="in" filter="fade">
                                      <p:cBhvr>
                                        <p:cTn id="27" dur="250"/>
                                        <p:tgtEl>
                                          <p:spTgt spid="73"/>
                                        </p:tgtEl>
                                      </p:cBhvr>
                                    </p:animEffect>
                                  </p:childTnLst>
                                </p:cTn>
                              </p:par>
                            </p:childTnLst>
                          </p:cTn>
                        </p:par>
                        <p:par>
                          <p:cTn id="28" fill="hold">
                            <p:stCondLst>
                              <p:cond delay="3000"/>
                            </p:stCondLst>
                            <p:childTnLst>
                              <p:par>
                                <p:cTn id="29" presetID="22" presetClass="entr" presetSubtype="4" fill="hold" nodeType="afterEffect">
                                  <p:stCondLst>
                                    <p:cond delay="0"/>
                                  </p:stCondLst>
                                  <p:childTnLst>
                                    <p:set>
                                      <p:cBhvr>
                                        <p:cTn id="30" dur="1" fill="hold">
                                          <p:stCondLst>
                                            <p:cond delay="0"/>
                                          </p:stCondLst>
                                        </p:cTn>
                                        <p:tgtEl>
                                          <p:spTgt spid="153"/>
                                        </p:tgtEl>
                                        <p:attrNameLst>
                                          <p:attrName>style.visibility</p:attrName>
                                        </p:attrNameLst>
                                      </p:cBhvr>
                                      <p:to>
                                        <p:strVal val="visible"/>
                                      </p:to>
                                    </p:set>
                                    <p:animEffect transition="in" filter="wipe(down)">
                                      <p:cBhvr>
                                        <p:cTn id="31" dur="500"/>
                                        <p:tgtEl>
                                          <p:spTgt spid="153"/>
                                        </p:tgtEl>
                                      </p:cBhvr>
                                    </p:animEffect>
                                  </p:childTnLst>
                                </p:cTn>
                              </p:par>
                            </p:childTnLst>
                          </p:cTn>
                        </p:par>
                        <p:par>
                          <p:cTn id="32" fill="hold">
                            <p:stCondLst>
                              <p:cond delay="3500"/>
                            </p:stCondLst>
                            <p:childTnLst>
                              <p:par>
                                <p:cTn id="33" presetID="2" presetClass="entr" presetSubtype="8" decel="32000" fill="hold" nodeType="afterEffect">
                                  <p:stCondLst>
                                    <p:cond delay="0"/>
                                  </p:stCondLst>
                                  <p:childTnLst>
                                    <p:set>
                                      <p:cBhvr>
                                        <p:cTn id="34" dur="1" fill="hold">
                                          <p:stCondLst>
                                            <p:cond delay="0"/>
                                          </p:stCondLst>
                                        </p:cTn>
                                        <p:tgtEl>
                                          <p:spTgt spid="2"/>
                                        </p:tgtEl>
                                        <p:attrNameLst>
                                          <p:attrName>style.visibility</p:attrName>
                                        </p:attrNameLst>
                                      </p:cBhvr>
                                      <p:to>
                                        <p:strVal val="visible"/>
                                      </p:to>
                                    </p:set>
                                    <p:anim calcmode="lin" valueType="num">
                                      <p:cBhvr additive="base">
                                        <p:cTn id="35" dur="500" fill="hold"/>
                                        <p:tgtEl>
                                          <p:spTgt spid="2"/>
                                        </p:tgtEl>
                                        <p:attrNameLst>
                                          <p:attrName>ppt_x</p:attrName>
                                        </p:attrNameLst>
                                      </p:cBhvr>
                                      <p:tavLst>
                                        <p:tav tm="0">
                                          <p:val>
                                            <p:strVal val="0-#ppt_w/2"/>
                                          </p:val>
                                        </p:tav>
                                        <p:tav tm="100000">
                                          <p:val>
                                            <p:strVal val="#ppt_x"/>
                                          </p:val>
                                        </p:tav>
                                      </p:tavLst>
                                    </p:anim>
                                    <p:anim calcmode="lin" valueType="num">
                                      <p:cBhvr additive="base">
                                        <p:cTn id="36" dur="500" fill="hold"/>
                                        <p:tgtEl>
                                          <p:spTgt spid="2"/>
                                        </p:tgtEl>
                                        <p:attrNameLst>
                                          <p:attrName>ppt_y</p:attrName>
                                        </p:attrNameLst>
                                      </p:cBhvr>
                                      <p:tavLst>
                                        <p:tav tm="0">
                                          <p:val>
                                            <p:strVal val="#ppt_y"/>
                                          </p:val>
                                        </p:tav>
                                        <p:tav tm="100000">
                                          <p:val>
                                            <p:strVal val="#ppt_y"/>
                                          </p:val>
                                        </p:tav>
                                      </p:tavLst>
                                    </p:anim>
                                  </p:childTnLst>
                                </p:cTn>
                              </p:par>
                            </p:childTnLst>
                          </p:cTn>
                        </p:par>
                        <p:par>
                          <p:cTn id="37" fill="hold">
                            <p:stCondLst>
                              <p:cond delay="4000"/>
                            </p:stCondLst>
                            <p:childTnLst>
                              <p:par>
                                <p:cTn id="38" presetID="22" presetClass="entr" presetSubtype="8" fill="hold" nodeType="afterEffect">
                                  <p:stCondLst>
                                    <p:cond delay="0"/>
                                  </p:stCondLst>
                                  <p:childTnLst>
                                    <p:set>
                                      <p:cBhvr>
                                        <p:cTn id="39" dur="1" fill="hold">
                                          <p:stCondLst>
                                            <p:cond delay="0"/>
                                          </p:stCondLst>
                                        </p:cTn>
                                        <p:tgtEl>
                                          <p:spTgt spid="154"/>
                                        </p:tgtEl>
                                        <p:attrNameLst>
                                          <p:attrName>style.visibility</p:attrName>
                                        </p:attrNameLst>
                                      </p:cBhvr>
                                      <p:to>
                                        <p:strVal val="visible"/>
                                      </p:to>
                                    </p:set>
                                    <p:animEffect transition="in" filter="wipe(left)">
                                      <p:cBhvr>
                                        <p:cTn id="40" dur="500"/>
                                        <p:tgtEl>
                                          <p:spTgt spid="154"/>
                                        </p:tgtEl>
                                      </p:cBhvr>
                                    </p:animEffect>
                                  </p:childTnLst>
                                </p:cTn>
                              </p:par>
                            </p:childTnLst>
                          </p:cTn>
                        </p:par>
                        <p:par>
                          <p:cTn id="41" fill="hold">
                            <p:stCondLst>
                              <p:cond delay="4500"/>
                            </p:stCondLst>
                            <p:childTnLst>
                              <p:par>
                                <p:cTn id="42" presetID="2" presetClass="entr" presetSubtype="1" decel="32000" fill="hold" nodeType="afterEffect">
                                  <p:stCondLst>
                                    <p:cond delay="0"/>
                                  </p:stCondLst>
                                  <p:childTnLst>
                                    <p:set>
                                      <p:cBhvr>
                                        <p:cTn id="43" dur="1" fill="hold">
                                          <p:stCondLst>
                                            <p:cond delay="0"/>
                                          </p:stCondLst>
                                        </p:cTn>
                                        <p:tgtEl>
                                          <p:spTgt spid="3"/>
                                        </p:tgtEl>
                                        <p:attrNameLst>
                                          <p:attrName>style.visibility</p:attrName>
                                        </p:attrNameLst>
                                      </p:cBhvr>
                                      <p:to>
                                        <p:strVal val="visible"/>
                                      </p:to>
                                    </p:set>
                                    <p:anim calcmode="lin" valueType="num">
                                      <p:cBhvr additive="base">
                                        <p:cTn id="44" dur="500" fill="hold"/>
                                        <p:tgtEl>
                                          <p:spTgt spid="3"/>
                                        </p:tgtEl>
                                        <p:attrNameLst>
                                          <p:attrName>ppt_x</p:attrName>
                                        </p:attrNameLst>
                                      </p:cBhvr>
                                      <p:tavLst>
                                        <p:tav tm="0">
                                          <p:val>
                                            <p:strVal val="#ppt_x"/>
                                          </p:val>
                                        </p:tav>
                                        <p:tav tm="100000">
                                          <p:val>
                                            <p:strVal val="#ppt_x"/>
                                          </p:val>
                                        </p:tav>
                                      </p:tavLst>
                                    </p:anim>
                                    <p:anim calcmode="lin" valueType="num">
                                      <p:cBhvr additive="base">
                                        <p:cTn id="45" dur="500" fill="hold"/>
                                        <p:tgtEl>
                                          <p:spTgt spid="3"/>
                                        </p:tgtEl>
                                        <p:attrNameLst>
                                          <p:attrName>ppt_y</p:attrName>
                                        </p:attrNameLst>
                                      </p:cBhvr>
                                      <p:tavLst>
                                        <p:tav tm="0">
                                          <p:val>
                                            <p:strVal val="0-#ppt_h/2"/>
                                          </p:val>
                                        </p:tav>
                                        <p:tav tm="100000">
                                          <p:val>
                                            <p:strVal val="#ppt_y"/>
                                          </p:val>
                                        </p:tav>
                                      </p:tavLst>
                                    </p:anim>
                                  </p:childTnLst>
                                </p:cTn>
                              </p:par>
                            </p:childTnLst>
                          </p:cTn>
                        </p:par>
                        <p:par>
                          <p:cTn id="46" fill="hold">
                            <p:stCondLst>
                              <p:cond delay="5000"/>
                            </p:stCondLst>
                            <p:childTnLst>
                              <p:par>
                                <p:cTn id="47" presetID="22" presetClass="entr" presetSubtype="1" fill="hold" grpId="0" nodeType="afterEffect">
                                  <p:stCondLst>
                                    <p:cond delay="0"/>
                                  </p:stCondLst>
                                  <p:childTnLst>
                                    <p:set>
                                      <p:cBhvr>
                                        <p:cTn id="48" dur="1" fill="hold">
                                          <p:stCondLst>
                                            <p:cond delay="0"/>
                                          </p:stCondLst>
                                        </p:cTn>
                                        <p:tgtEl>
                                          <p:spTgt spid="82"/>
                                        </p:tgtEl>
                                        <p:attrNameLst>
                                          <p:attrName>style.visibility</p:attrName>
                                        </p:attrNameLst>
                                      </p:cBhvr>
                                      <p:to>
                                        <p:strVal val="visible"/>
                                      </p:to>
                                    </p:set>
                                    <p:animEffect transition="in" filter="wipe(up)">
                                      <p:cBhvr>
                                        <p:cTn id="49" dur="500"/>
                                        <p:tgtEl>
                                          <p:spTgt spid="82"/>
                                        </p:tgtEl>
                                      </p:cBhvr>
                                    </p:animEffect>
                                  </p:childTnLst>
                                </p:cTn>
                              </p:par>
                            </p:childTnLst>
                          </p:cTn>
                        </p:par>
                        <p:par>
                          <p:cTn id="50" fill="hold">
                            <p:stCondLst>
                              <p:cond delay="5500"/>
                            </p:stCondLst>
                            <p:childTnLst>
                              <p:par>
                                <p:cTn id="51" presetID="2" presetClass="entr" presetSubtype="2" decel="32000" fill="hold" nodeType="afterEffect">
                                  <p:stCondLst>
                                    <p:cond delay="0"/>
                                  </p:stCondLst>
                                  <p:childTnLst>
                                    <p:set>
                                      <p:cBhvr>
                                        <p:cTn id="52" dur="1" fill="hold">
                                          <p:stCondLst>
                                            <p:cond delay="0"/>
                                          </p:stCondLst>
                                        </p:cTn>
                                        <p:tgtEl>
                                          <p:spTgt spid="5"/>
                                        </p:tgtEl>
                                        <p:attrNameLst>
                                          <p:attrName>style.visibility</p:attrName>
                                        </p:attrNameLst>
                                      </p:cBhvr>
                                      <p:to>
                                        <p:strVal val="visible"/>
                                      </p:to>
                                    </p:set>
                                    <p:anim calcmode="lin" valueType="num">
                                      <p:cBhvr additive="base">
                                        <p:cTn id="53" dur="500" fill="hold"/>
                                        <p:tgtEl>
                                          <p:spTgt spid="5"/>
                                        </p:tgtEl>
                                        <p:attrNameLst>
                                          <p:attrName>ppt_x</p:attrName>
                                        </p:attrNameLst>
                                      </p:cBhvr>
                                      <p:tavLst>
                                        <p:tav tm="0">
                                          <p:val>
                                            <p:strVal val="1+#ppt_w/2"/>
                                          </p:val>
                                        </p:tav>
                                        <p:tav tm="100000">
                                          <p:val>
                                            <p:strVal val="#ppt_x"/>
                                          </p:val>
                                        </p:tav>
                                      </p:tavLst>
                                    </p:anim>
                                    <p:anim calcmode="lin" valueType="num">
                                      <p:cBhvr additive="base">
                                        <p:cTn id="54" dur="500" fill="hold"/>
                                        <p:tgtEl>
                                          <p:spTgt spid="5"/>
                                        </p:tgtEl>
                                        <p:attrNameLst>
                                          <p:attrName>ppt_y</p:attrName>
                                        </p:attrNameLst>
                                      </p:cBhvr>
                                      <p:tavLst>
                                        <p:tav tm="0">
                                          <p:val>
                                            <p:strVal val="#ppt_y"/>
                                          </p:val>
                                        </p:tav>
                                        <p:tav tm="100000">
                                          <p:val>
                                            <p:strVal val="#ppt_y"/>
                                          </p:val>
                                        </p:tav>
                                      </p:tavLst>
                                    </p:anim>
                                  </p:childTnLst>
                                </p:cTn>
                              </p:par>
                            </p:childTnLst>
                          </p:cTn>
                        </p:par>
                        <p:par>
                          <p:cTn id="55" fill="hold">
                            <p:stCondLst>
                              <p:cond delay="6000"/>
                            </p:stCondLst>
                            <p:childTnLst>
                              <p:par>
                                <p:cTn id="56" presetID="22" presetClass="entr" presetSubtype="1" fill="hold" nodeType="after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wipe(up)">
                                      <p:cBhvr>
                                        <p:cTn id="58" dur="500"/>
                                        <p:tgtEl>
                                          <p:spTgt spid="6"/>
                                        </p:tgtEl>
                                      </p:cBhvr>
                                    </p:animEffect>
                                  </p:childTnLst>
                                </p:cTn>
                              </p:par>
                            </p:childTnLst>
                          </p:cTn>
                        </p:par>
                        <p:par>
                          <p:cTn id="59" fill="hold">
                            <p:stCondLst>
                              <p:cond delay="6500"/>
                            </p:stCondLst>
                            <p:childTnLst>
                              <p:par>
                                <p:cTn id="60" presetID="2" presetClass="entr" presetSubtype="6" decel="32000" fill="hold" nodeType="afterEffect">
                                  <p:stCondLst>
                                    <p:cond delay="0"/>
                                  </p:stCondLst>
                                  <p:childTnLst>
                                    <p:set>
                                      <p:cBhvr>
                                        <p:cTn id="61" dur="1" fill="hold">
                                          <p:stCondLst>
                                            <p:cond delay="0"/>
                                          </p:stCondLst>
                                        </p:cTn>
                                        <p:tgtEl>
                                          <p:spTgt spid="7"/>
                                        </p:tgtEl>
                                        <p:attrNameLst>
                                          <p:attrName>style.visibility</p:attrName>
                                        </p:attrNameLst>
                                      </p:cBhvr>
                                      <p:to>
                                        <p:strVal val="visible"/>
                                      </p:to>
                                    </p:set>
                                    <p:anim calcmode="lin" valueType="num">
                                      <p:cBhvr additive="base">
                                        <p:cTn id="62" dur="500" fill="hold"/>
                                        <p:tgtEl>
                                          <p:spTgt spid="7"/>
                                        </p:tgtEl>
                                        <p:attrNameLst>
                                          <p:attrName>ppt_x</p:attrName>
                                        </p:attrNameLst>
                                      </p:cBhvr>
                                      <p:tavLst>
                                        <p:tav tm="0">
                                          <p:val>
                                            <p:strVal val="1+#ppt_w/2"/>
                                          </p:val>
                                        </p:tav>
                                        <p:tav tm="100000">
                                          <p:val>
                                            <p:strVal val="#ppt_x"/>
                                          </p:val>
                                        </p:tav>
                                      </p:tavLst>
                                    </p:anim>
                                    <p:anim calcmode="lin" valueType="num">
                                      <p:cBhvr additive="base">
                                        <p:cTn id="63" dur="500" fill="hold"/>
                                        <p:tgtEl>
                                          <p:spTgt spid="7"/>
                                        </p:tgtEl>
                                        <p:attrNameLst>
                                          <p:attrName>ppt_y</p:attrName>
                                        </p:attrNameLst>
                                      </p:cBhvr>
                                      <p:tavLst>
                                        <p:tav tm="0">
                                          <p:val>
                                            <p:strVal val="1+#ppt_h/2"/>
                                          </p:val>
                                        </p:tav>
                                        <p:tav tm="100000">
                                          <p:val>
                                            <p:strVal val="#ppt_y"/>
                                          </p:val>
                                        </p:tav>
                                      </p:tavLst>
                                    </p:anim>
                                  </p:childTnLst>
                                </p:cTn>
                              </p:par>
                            </p:childTnLst>
                          </p:cTn>
                        </p:par>
                        <p:par>
                          <p:cTn id="64" fill="hold">
                            <p:stCondLst>
                              <p:cond delay="7000"/>
                            </p:stCondLst>
                            <p:childTnLst>
                              <p:par>
                                <p:cTn id="65" presetID="22" presetClass="entr" presetSubtype="2" fill="hold" nodeType="afterEffect">
                                  <p:stCondLst>
                                    <p:cond delay="0"/>
                                  </p:stCondLst>
                                  <p:childTnLst>
                                    <p:set>
                                      <p:cBhvr>
                                        <p:cTn id="66" dur="1" fill="hold">
                                          <p:stCondLst>
                                            <p:cond delay="0"/>
                                          </p:stCondLst>
                                        </p:cTn>
                                        <p:tgtEl>
                                          <p:spTgt spid="8"/>
                                        </p:tgtEl>
                                        <p:attrNameLst>
                                          <p:attrName>style.visibility</p:attrName>
                                        </p:attrNameLst>
                                      </p:cBhvr>
                                      <p:to>
                                        <p:strVal val="visible"/>
                                      </p:to>
                                    </p:set>
                                    <p:animEffect transition="in" filter="wipe(right)">
                                      <p:cBhvr>
                                        <p:cTn id="67" dur="500"/>
                                        <p:tgtEl>
                                          <p:spTgt spid="8"/>
                                        </p:tgtEl>
                                      </p:cBhvr>
                                    </p:animEffect>
                                  </p:childTnLst>
                                </p:cTn>
                              </p:par>
                            </p:childTnLst>
                          </p:cTn>
                        </p:par>
                        <p:par>
                          <p:cTn id="68" fill="hold">
                            <p:stCondLst>
                              <p:cond delay="7500"/>
                            </p:stCondLst>
                            <p:childTnLst>
                              <p:par>
                                <p:cTn id="69" presetID="2" presetClass="entr" presetSubtype="4" decel="32000" fill="hold" nodeType="afterEffect">
                                  <p:stCondLst>
                                    <p:cond delay="0"/>
                                  </p:stCondLst>
                                  <p:childTnLst>
                                    <p:set>
                                      <p:cBhvr>
                                        <p:cTn id="70" dur="1" fill="hold">
                                          <p:stCondLst>
                                            <p:cond delay="0"/>
                                          </p:stCondLst>
                                        </p:cTn>
                                        <p:tgtEl>
                                          <p:spTgt spid="9"/>
                                        </p:tgtEl>
                                        <p:attrNameLst>
                                          <p:attrName>style.visibility</p:attrName>
                                        </p:attrNameLst>
                                      </p:cBhvr>
                                      <p:to>
                                        <p:strVal val="visible"/>
                                      </p:to>
                                    </p:set>
                                    <p:anim calcmode="lin" valueType="num">
                                      <p:cBhvr additive="base">
                                        <p:cTn id="71" dur="500" fill="hold"/>
                                        <p:tgtEl>
                                          <p:spTgt spid="9"/>
                                        </p:tgtEl>
                                        <p:attrNameLst>
                                          <p:attrName>ppt_x</p:attrName>
                                        </p:attrNameLst>
                                      </p:cBhvr>
                                      <p:tavLst>
                                        <p:tav tm="0">
                                          <p:val>
                                            <p:strVal val="#ppt_x"/>
                                          </p:val>
                                        </p:tav>
                                        <p:tav tm="100000">
                                          <p:val>
                                            <p:strVal val="#ppt_x"/>
                                          </p:val>
                                        </p:tav>
                                      </p:tavLst>
                                    </p:anim>
                                    <p:anim calcmode="lin" valueType="num">
                                      <p:cBhvr additive="base">
                                        <p:cTn id="72" dur="500" fill="hold"/>
                                        <p:tgtEl>
                                          <p:spTgt spid="9"/>
                                        </p:tgtEl>
                                        <p:attrNameLst>
                                          <p:attrName>ppt_y</p:attrName>
                                        </p:attrNameLst>
                                      </p:cBhvr>
                                      <p:tavLst>
                                        <p:tav tm="0">
                                          <p:val>
                                            <p:strVal val="1+#ppt_h/2"/>
                                          </p:val>
                                        </p:tav>
                                        <p:tav tm="100000">
                                          <p:val>
                                            <p:strVal val="#ppt_y"/>
                                          </p:val>
                                        </p:tav>
                                      </p:tavLst>
                                    </p:anim>
                                  </p:childTnLst>
                                </p:cTn>
                              </p:par>
                            </p:childTnLst>
                          </p:cTn>
                        </p:par>
                        <p:par>
                          <p:cTn id="73" fill="hold">
                            <p:stCondLst>
                              <p:cond delay="8000"/>
                            </p:stCondLst>
                            <p:childTnLst>
                              <p:par>
                                <p:cTn id="74" presetID="22" presetClass="entr" presetSubtype="2" fill="hold" nodeType="afterEffect">
                                  <p:stCondLst>
                                    <p:cond delay="0"/>
                                  </p:stCondLst>
                                  <p:childTnLst>
                                    <p:set>
                                      <p:cBhvr>
                                        <p:cTn id="75" dur="1" fill="hold">
                                          <p:stCondLst>
                                            <p:cond delay="0"/>
                                          </p:stCondLst>
                                        </p:cTn>
                                        <p:tgtEl>
                                          <p:spTgt spid="10"/>
                                        </p:tgtEl>
                                        <p:attrNameLst>
                                          <p:attrName>style.visibility</p:attrName>
                                        </p:attrNameLst>
                                      </p:cBhvr>
                                      <p:to>
                                        <p:strVal val="visible"/>
                                      </p:to>
                                    </p:set>
                                    <p:animEffect transition="in" filter="wipe(right)">
                                      <p:cBhvr>
                                        <p:cTn id="76" dur="500"/>
                                        <p:tgtEl>
                                          <p:spTgt spid="10"/>
                                        </p:tgtEl>
                                      </p:cBhvr>
                                    </p:animEffect>
                                  </p:childTnLst>
                                </p:cTn>
                              </p:par>
                            </p:childTnLst>
                          </p:cTn>
                        </p:par>
                        <p:par>
                          <p:cTn id="77" fill="hold">
                            <p:stCondLst>
                              <p:cond delay="8500"/>
                            </p:stCondLst>
                            <p:childTnLst>
                              <p:par>
                                <p:cTn id="78" presetID="2" presetClass="entr" presetSubtype="12" decel="32000" fill="hold" nodeType="afterEffect">
                                  <p:stCondLst>
                                    <p:cond delay="0"/>
                                  </p:stCondLst>
                                  <p:childTnLst>
                                    <p:set>
                                      <p:cBhvr>
                                        <p:cTn id="79" dur="1" fill="hold">
                                          <p:stCondLst>
                                            <p:cond delay="0"/>
                                          </p:stCondLst>
                                        </p:cTn>
                                        <p:tgtEl>
                                          <p:spTgt spid="11"/>
                                        </p:tgtEl>
                                        <p:attrNameLst>
                                          <p:attrName>style.visibility</p:attrName>
                                        </p:attrNameLst>
                                      </p:cBhvr>
                                      <p:to>
                                        <p:strVal val="visible"/>
                                      </p:to>
                                    </p:set>
                                    <p:anim calcmode="lin" valueType="num">
                                      <p:cBhvr additive="base">
                                        <p:cTn id="80" dur="500" fill="hold"/>
                                        <p:tgtEl>
                                          <p:spTgt spid="11"/>
                                        </p:tgtEl>
                                        <p:attrNameLst>
                                          <p:attrName>ppt_x</p:attrName>
                                        </p:attrNameLst>
                                      </p:cBhvr>
                                      <p:tavLst>
                                        <p:tav tm="0">
                                          <p:val>
                                            <p:strVal val="0-#ppt_w/2"/>
                                          </p:val>
                                        </p:tav>
                                        <p:tav tm="100000">
                                          <p:val>
                                            <p:strVal val="#ppt_x"/>
                                          </p:val>
                                        </p:tav>
                                      </p:tavLst>
                                    </p:anim>
                                    <p:anim calcmode="lin" valueType="num">
                                      <p:cBhvr additive="base">
                                        <p:cTn id="81"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1" grpId="0" animBg="1"/>
      <p:bldP spid="72" grpId="0" animBg="1"/>
      <p:bldP spid="73" grpId="0" animBg="1"/>
      <p:bldP spid="74" grpId="0" animBg="1"/>
      <p:bldP spid="75" grpId="0" animBg="1"/>
      <p:bldP spid="8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组合 76"/>
          <p:cNvGrpSpPr/>
          <p:nvPr/>
        </p:nvGrpSpPr>
        <p:grpSpPr>
          <a:xfrm>
            <a:off x="1051223" y="1723605"/>
            <a:ext cx="4960937" cy="398463"/>
            <a:chOff x="684213" y="1912938"/>
            <a:chExt cx="4960937" cy="398463"/>
          </a:xfrm>
        </p:grpSpPr>
        <p:sp>
          <p:nvSpPr>
            <p:cNvPr id="7" name="Rectangle 5"/>
            <p:cNvSpPr>
              <a:spLocks noChangeArrowheads="1"/>
            </p:cNvSpPr>
            <p:nvPr/>
          </p:nvSpPr>
          <p:spPr bwMode="auto">
            <a:xfrm>
              <a:off x="684213" y="2024063"/>
              <a:ext cx="1376362" cy="287338"/>
            </a:xfrm>
            <a:prstGeom prst="rect">
              <a:avLst/>
            </a:prstGeom>
            <a:solidFill>
              <a:srgbClr val="0070C0"/>
            </a:solidFill>
            <a:ln>
              <a:noFill/>
            </a:ln>
          </p:spPr>
          <p:txBody>
            <a:bodyPr vert="horz" wrap="square" lIns="91440" tIns="45720" rIns="91440" bIns="45720" numCol="1" anchor="t" anchorCtr="0" compatLnSpc="1"/>
            <a:lstStyle/>
            <a:p>
              <a:endParaRPr lang="zh-CN" altLang="en-US"/>
            </a:p>
          </p:txBody>
        </p:sp>
        <p:sp>
          <p:nvSpPr>
            <p:cNvPr id="9" name="Freeform 7"/>
            <p:cNvSpPr/>
            <p:nvPr/>
          </p:nvSpPr>
          <p:spPr bwMode="auto">
            <a:xfrm>
              <a:off x="1843088" y="2208213"/>
              <a:ext cx="217487" cy="103188"/>
            </a:xfrm>
            <a:custGeom>
              <a:avLst/>
              <a:gdLst>
                <a:gd name="T0" fmla="*/ 137 w 137"/>
                <a:gd name="T1" fmla="*/ 65 h 65"/>
                <a:gd name="T2" fmla="*/ 137 w 137"/>
                <a:gd name="T3" fmla="*/ 0 h 65"/>
                <a:gd name="T4" fmla="*/ 0 w 137"/>
                <a:gd name="T5" fmla="*/ 0 h 65"/>
                <a:gd name="T6" fmla="*/ 137 w 137"/>
                <a:gd name="T7" fmla="*/ 65 h 65"/>
              </a:gdLst>
              <a:ahLst/>
              <a:cxnLst>
                <a:cxn ang="0">
                  <a:pos x="T0" y="T1"/>
                </a:cxn>
                <a:cxn ang="0">
                  <a:pos x="T2" y="T3"/>
                </a:cxn>
                <a:cxn ang="0">
                  <a:pos x="T4" y="T5"/>
                </a:cxn>
                <a:cxn ang="0">
                  <a:pos x="T6" y="T7"/>
                </a:cxn>
              </a:cxnLst>
              <a:rect l="0" t="0" r="r" b="b"/>
              <a:pathLst>
                <a:path w="137" h="65">
                  <a:moveTo>
                    <a:pt x="137" y="65"/>
                  </a:moveTo>
                  <a:lnTo>
                    <a:pt x="137" y="0"/>
                  </a:lnTo>
                  <a:lnTo>
                    <a:pt x="0" y="0"/>
                  </a:lnTo>
                  <a:lnTo>
                    <a:pt x="137" y="65"/>
                  </a:lnTo>
                  <a:close/>
                </a:path>
              </a:pathLst>
            </a:custGeom>
            <a:solidFill>
              <a:srgbClr val="002060"/>
            </a:solidFill>
            <a:ln>
              <a:noFill/>
            </a:ln>
          </p:spPr>
          <p:txBody>
            <a:bodyPr vert="horz" wrap="square" lIns="91440" tIns="45720" rIns="91440" bIns="45720" numCol="1" anchor="t" anchorCtr="0" compatLnSpc="1"/>
            <a:lstStyle/>
            <a:p>
              <a:endParaRPr lang="zh-CN" altLang="en-US"/>
            </a:p>
          </p:txBody>
        </p:sp>
        <p:grpSp>
          <p:nvGrpSpPr>
            <p:cNvPr id="75" name="组合 74"/>
            <p:cNvGrpSpPr/>
            <p:nvPr/>
          </p:nvGrpSpPr>
          <p:grpSpPr>
            <a:xfrm>
              <a:off x="1843088" y="1912938"/>
              <a:ext cx="3802062" cy="295275"/>
              <a:chOff x="1843088" y="1912938"/>
              <a:chExt cx="3802062" cy="295275"/>
            </a:xfrm>
          </p:grpSpPr>
          <p:sp>
            <p:nvSpPr>
              <p:cNvPr id="8" name="Rectangle 6"/>
              <p:cNvSpPr>
                <a:spLocks noChangeArrowheads="1"/>
              </p:cNvSpPr>
              <p:nvPr/>
            </p:nvSpPr>
            <p:spPr bwMode="auto">
              <a:xfrm>
                <a:off x="1843088" y="1912938"/>
                <a:ext cx="3201987" cy="295275"/>
              </a:xfrm>
              <a:prstGeom prst="rect">
                <a:avLst/>
              </a:prstGeom>
              <a:solidFill>
                <a:srgbClr val="00B0F0"/>
              </a:solidFill>
              <a:ln>
                <a:noFill/>
              </a:ln>
            </p:spPr>
            <p:txBody>
              <a:bodyPr vert="horz" wrap="square" lIns="91440" tIns="45720" rIns="91440" bIns="45720" numCol="1" anchor="t" anchorCtr="0" compatLnSpc="1"/>
              <a:lstStyle/>
              <a:p>
                <a:endParaRPr lang="zh-CN" altLang="en-US"/>
              </a:p>
            </p:txBody>
          </p:sp>
          <p:sp>
            <p:nvSpPr>
              <p:cNvPr id="59" name="Freeform 57"/>
              <p:cNvSpPr>
                <a:spLocks noEditPoints="1"/>
              </p:cNvSpPr>
              <p:nvPr/>
            </p:nvSpPr>
            <p:spPr bwMode="auto">
              <a:xfrm>
                <a:off x="5235575" y="1982788"/>
                <a:ext cx="103187" cy="157163"/>
              </a:xfrm>
              <a:custGeom>
                <a:avLst/>
                <a:gdLst>
                  <a:gd name="T0" fmla="*/ 13 w 15"/>
                  <a:gd name="T1" fmla="*/ 2 h 23"/>
                  <a:gd name="T2" fmla="*/ 11 w 15"/>
                  <a:gd name="T3" fmla="*/ 3 h 23"/>
                  <a:gd name="T4" fmla="*/ 3 w 15"/>
                  <a:gd name="T5" fmla="*/ 11 h 23"/>
                  <a:gd name="T6" fmla="*/ 3 w 15"/>
                  <a:gd name="T7" fmla="*/ 11 h 23"/>
                  <a:gd name="T8" fmla="*/ 8 w 15"/>
                  <a:gd name="T9" fmla="*/ 8 h 23"/>
                  <a:gd name="T10" fmla="*/ 15 w 15"/>
                  <a:gd name="T11" fmla="*/ 15 h 23"/>
                  <a:gd name="T12" fmla="*/ 8 w 15"/>
                  <a:gd name="T13" fmla="*/ 23 h 23"/>
                  <a:gd name="T14" fmla="*/ 0 w 15"/>
                  <a:gd name="T15" fmla="*/ 14 h 23"/>
                  <a:gd name="T16" fmla="*/ 3 w 15"/>
                  <a:gd name="T17" fmla="*/ 3 h 23"/>
                  <a:gd name="T18" fmla="*/ 11 w 15"/>
                  <a:gd name="T19" fmla="*/ 0 h 23"/>
                  <a:gd name="T20" fmla="*/ 13 w 15"/>
                  <a:gd name="T21" fmla="*/ 0 h 23"/>
                  <a:gd name="T22" fmla="*/ 13 w 15"/>
                  <a:gd name="T23" fmla="*/ 2 h 23"/>
                  <a:gd name="T24" fmla="*/ 12 w 15"/>
                  <a:gd name="T25" fmla="*/ 15 h 23"/>
                  <a:gd name="T26" fmla="*/ 7 w 15"/>
                  <a:gd name="T27" fmla="*/ 10 h 23"/>
                  <a:gd name="T28" fmla="*/ 3 w 15"/>
                  <a:gd name="T29" fmla="*/ 13 h 23"/>
                  <a:gd name="T30" fmla="*/ 3 w 15"/>
                  <a:gd name="T31" fmla="*/ 14 h 23"/>
                  <a:gd name="T32" fmla="*/ 8 w 15"/>
                  <a:gd name="T33" fmla="*/ 21 h 23"/>
                  <a:gd name="T34" fmla="*/ 12 w 15"/>
                  <a:gd name="T35"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3">
                    <a:moveTo>
                      <a:pt x="13" y="2"/>
                    </a:moveTo>
                    <a:cubicBezTo>
                      <a:pt x="12" y="2"/>
                      <a:pt x="11" y="2"/>
                      <a:pt x="11" y="3"/>
                    </a:cubicBezTo>
                    <a:cubicBezTo>
                      <a:pt x="6" y="3"/>
                      <a:pt x="3" y="7"/>
                      <a:pt x="3" y="11"/>
                    </a:cubicBezTo>
                    <a:cubicBezTo>
                      <a:pt x="3" y="11"/>
                      <a:pt x="3" y="11"/>
                      <a:pt x="3" y="11"/>
                    </a:cubicBezTo>
                    <a:cubicBezTo>
                      <a:pt x="4" y="9"/>
                      <a:pt x="6" y="8"/>
                      <a:pt x="8" y="8"/>
                    </a:cubicBezTo>
                    <a:cubicBezTo>
                      <a:pt x="12" y="8"/>
                      <a:pt x="15" y="11"/>
                      <a:pt x="15" y="15"/>
                    </a:cubicBezTo>
                    <a:cubicBezTo>
                      <a:pt x="15" y="19"/>
                      <a:pt x="12" y="23"/>
                      <a:pt x="8" y="23"/>
                    </a:cubicBezTo>
                    <a:cubicBezTo>
                      <a:pt x="3" y="23"/>
                      <a:pt x="0" y="19"/>
                      <a:pt x="0" y="14"/>
                    </a:cubicBezTo>
                    <a:cubicBezTo>
                      <a:pt x="0" y="9"/>
                      <a:pt x="1" y="6"/>
                      <a:pt x="3" y="3"/>
                    </a:cubicBezTo>
                    <a:cubicBezTo>
                      <a:pt x="5" y="2"/>
                      <a:pt x="8" y="0"/>
                      <a:pt x="11" y="0"/>
                    </a:cubicBezTo>
                    <a:cubicBezTo>
                      <a:pt x="11" y="0"/>
                      <a:pt x="12" y="0"/>
                      <a:pt x="13" y="0"/>
                    </a:cubicBezTo>
                    <a:lnTo>
                      <a:pt x="13" y="2"/>
                    </a:lnTo>
                    <a:close/>
                    <a:moveTo>
                      <a:pt x="12" y="15"/>
                    </a:moveTo>
                    <a:cubicBezTo>
                      <a:pt x="12" y="12"/>
                      <a:pt x="10" y="10"/>
                      <a:pt x="7" y="10"/>
                    </a:cubicBezTo>
                    <a:cubicBezTo>
                      <a:pt x="5" y="10"/>
                      <a:pt x="4" y="11"/>
                      <a:pt x="3" y="13"/>
                    </a:cubicBezTo>
                    <a:cubicBezTo>
                      <a:pt x="3" y="13"/>
                      <a:pt x="3" y="14"/>
                      <a:pt x="3" y="14"/>
                    </a:cubicBezTo>
                    <a:cubicBezTo>
                      <a:pt x="3" y="18"/>
                      <a:pt x="4" y="21"/>
                      <a:pt x="8" y="21"/>
                    </a:cubicBezTo>
                    <a:cubicBezTo>
                      <a:pt x="10" y="21"/>
                      <a:pt x="12" y="19"/>
                      <a:pt x="12" y="15"/>
                    </a:cubicBezTo>
                    <a:close/>
                  </a:path>
                </a:pathLst>
              </a:custGeom>
              <a:solidFill>
                <a:srgbClr val="E149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 name="Freeform 58"/>
              <p:cNvSpPr/>
              <p:nvPr/>
            </p:nvSpPr>
            <p:spPr bwMode="auto">
              <a:xfrm>
                <a:off x="5359400" y="1982788"/>
                <a:ext cx="95250" cy="157163"/>
              </a:xfrm>
              <a:custGeom>
                <a:avLst/>
                <a:gdLst>
                  <a:gd name="T0" fmla="*/ 60 w 60"/>
                  <a:gd name="T1" fmla="*/ 0 h 99"/>
                  <a:gd name="T2" fmla="*/ 60 w 60"/>
                  <a:gd name="T3" fmla="*/ 8 h 99"/>
                  <a:gd name="T4" fmla="*/ 21 w 60"/>
                  <a:gd name="T5" fmla="*/ 99 h 99"/>
                  <a:gd name="T6" fmla="*/ 4 w 60"/>
                  <a:gd name="T7" fmla="*/ 99 h 99"/>
                  <a:gd name="T8" fmla="*/ 47 w 60"/>
                  <a:gd name="T9" fmla="*/ 13 h 99"/>
                  <a:gd name="T10" fmla="*/ 47 w 60"/>
                  <a:gd name="T11" fmla="*/ 13 h 99"/>
                  <a:gd name="T12" fmla="*/ 0 w 60"/>
                  <a:gd name="T13" fmla="*/ 13 h 99"/>
                  <a:gd name="T14" fmla="*/ 0 w 60"/>
                  <a:gd name="T15" fmla="*/ 0 h 99"/>
                  <a:gd name="T16" fmla="*/ 60 w 60"/>
                  <a:gd name="T1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99">
                    <a:moveTo>
                      <a:pt x="60" y="0"/>
                    </a:moveTo>
                    <a:lnTo>
                      <a:pt x="60" y="8"/>
                    </a:lnTo>
                    <a:lnTo>
                      <a:pt x="21" y="99"/>
                    </a:lnTo>
                    <a:lnTo>
                      <a:pt x="4" y="99"/>
                    </a:lnTo>
                    <a:lnTo>
                      <a:pt x="47" y="13"/>
                    </a:lnTo>
                    <a:lnTo>
                      <a:pt x="47" y="13"/>
                    </a:lnTo>
                    <a:lnTo>
                      <a:pt x="0" y="13"/>
                    </a:lnTo>
                    <a:lnTo>
                      <a:pt x="0" y="0"/>
                    </a:lnTo>
                    <a:lnTo>
                      <a:pt x="60" y="0"/>
                    </a:lnTo>
                    <a:close/>
                  </a:path>
                </a:pathLst>
              </a:custGeom>
              <a:solidFill>
                <a:srgbClr val="E149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 name="Freeform 59"/>
              <p:cNvSpPr>
                <a:spLocks noEditPoints="1"/>
              </p:cNvSpPr>
              <p:nvPr/>
            </p:nvSpPr>
            <p:spPr bwMode="auto">
              <a:xfrm>
                <a:off x="5473700" y="1982788"/>
                <a:ext cx="171450" cy="157163"/>
              </a:xfrm>
              <a:custGeom>
                <a:avLst/>
                <a:gdLst>
                  <a:gd name="T0" fmla="*/ 11 w 25"/>
                  <a:gd name="T1" fmla="*/ 7 h 23"/>
                  <a:gd name="T2" fmla="*/ 5 w 25"/>
                  <a:gd name="T3" fmla="*/ 14 h 23"/>
                  <a:gd name="T4" fmla="*/ 0 w 25"/>
                  <a:gd name="T5" fmla="*/ 7 h 23"/>
                  <a:gd name="T6" fmla="*/ 6 w 25"/>
                  <a:gd name="T7" fmla="*/ 0 h 23"/>
                  <a:gd name="T8" fmla="*/ 11 w 25"/>
                  <a:gd name="T9" fmla="*/ 7 h 23"/>
                  <a:gd name="T10" fmla="*/ 2 w 25"/>
                  <a:gd name="T11" fmla="*/ 7 h 23"/>
                  <a:gd name="T12" fmla="*/ 5 w 25"/>
                  <a:gd name="T13" fmla="*/ 12 h 23"/>
                  <a:gd name="T14" fmla="*/ 8 w 25"/>
                  <a:gd name="T15" fmla="*/ 7 h 23"/>
                  <a:gd name="T16" fmla="*/ 5 w 25"/>
                  <a:gd name="T17" fmla="*/ 2 h 23"/>
                  <a:gd name="T18" fmla="*/ 2 w 25"/>
                  <a:gd name="T19" fmla="*/ 7 h 23"/>
                  <a:gd name="T20" fmla="*/ 5 w 25"/>
                  <a:gd name="T21" fmla="*/ 23 h 23"/>
                  <a:gd name="T22" fmla="*/ 18 w 25"/>
                  <a:gd name="T23" fmla="*/ 0 h 23"/>
                  <a:gd name="T24" fmla="*/ 20 w 25"/>
                  <a:gd name="T25" fmla="*/ 0 h 23"/>
                  <a:gd name="T26" fmla="*/ 7 w 25"/>
                  <a:gd name="T27" fmla="*/ 23 h 23"/>
                  <a:gd name="T28" fmla="*/ 5 w 25"/>
                  <a:gd name="T29" fmla="*/ 23 h 23"/>
                  <a:gd name="T30" fmla="*/ 25 w 25"/>
                  <a:gd name="T31" fmla="*/ 16 h 23"/>
                  <a:gd name="T32" fmla="*/ 20 w 25"/>
                  <a:gd name="T33" fmla="*/ 23 h 23"/>
                  <a:gd name="T34" fmla="*/ 15 w 25"/>
                  <a:gd name="T35" fmla="*/ 16 h 23"/>
                  <a:gd name="T36" fmla="*/ 20 w 25"/>
                  <a:gd name="T37" fmla="*/ 9 h 23"/>
                  <a:gd name="T38" fmla="*/ 25 w 25"/>
                  <a:gd name="T39" fmla="*/ 16 h 23"/>
                  <a:gd name="T40" fmla="*/ 17 w 25"/>
                  <a:gd name="T41" fmla="*/ 16 h 23"/>
                  <a:gd name="T42" fmla="*/ 20 w 25"/>
                  <a:gd name="T43" fmla="*/ 21 h 23"/>
                  <a:gd name="T44" fmla="*/ 23 w 25"/>
                  <a:gd name="T45" fmla="*/ 16 h 23"/>
                  <a:gd name="T46" fmla="*/ 20 w 25"/>
                  <a:gd name="T47" fmla="*/ 11 h 23"/>
                  <a:gd name="T48" fmla="*/ 17 w 25"/>
                  <a:gd name="T49"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23">
                    <a:moveTo>
                      <a:pt x="11" y="7"/>
                    </a:moveTo>
                    <a:cubicBezTo>
                      <a:pt x="11" y="11"/>
                      <a:pt x="8" y="14"/>
                      <a:pt x="5" y="14"/>
                    </a:cubicBezTo>
                    <a:cubicBezTo>
                      <a:pt x="2" y="14"/>
                      <a:pt x="0" y="11"/>
                      <a:pt x="0" y="7"/>
                    </a:cubicBezTo>
                    <a:cubicBezTo>
                      <a:pt x="0" y="2"/>
                      <a:pt x="2" y="0"/>
                      <a:pt x="6" y="0"/>
                    </a:cubicBezTo>
                    <a:cubicBezTo>
                      <a:pt x="9" y="0"/>
                      <a:pt x="11" y="2"/>
                      <a:pt x="11" y="7"/>
                    </a:cubicBezTo>
                    <a:close/>
                    <a:moveTo>
                      <a:pt x="2" y="7"/>
                    </a:moveTo>
                    <a:cubicBezTo>
                      <a:pt x="2" y="10"/>
                      <a:pt x="3" y="12"/>
                      <a:pt x="5" y="12"/>
                    </a:cubicBezTo>
                    <a:cubicBezTo>
                      <a:pt x="7" y="12"/>
                      <a:pt x="8" y="10"/>
                      <a:pt x="8" y="7"/>
                    </a:cubicBezTo>
                    <a:cubicBezTo>
                      <a:pt x="8" y="4"/>
                      <a:pt x="8" y="2"/>
                      <a:pt x="5" y="2"/>
                    </a:cubicBezTo>
                    <a:cubicBezTo>
                      <a:pt x="3" y="2"/>
                      <a:pt x="2" y="4"/>
                      <a:pt x="2" y="7"/>
                    </a:cubicBezTo>
                    <a:close/>
                    <a:moveTo>
                      <a:pt x="5" y="23"/>
                    </a:moveTo>
                    <a:cubicBezTo>
                      <a:pt x="18" y="0"/>
                      <a:pt x="18" y="0"/>
                      <a:pt x="18" y="0"/>
                    </a:cubicBezTo>
                    <a:cubicBezTo>
                      <a:pt x="20" y="0"/>
                      <a:pt x="20" y="0"/>
                      <a:pt x="20" y="0"/>
                    </a:cubicBezTo>
                    <a:cubicBezTo>
                      <a:pt x="7" y="23"/>
                      <a:pt x="7" y="23"/>
                      <a:pt x="7" y="23"/>
                    </a:cubicBezTo>
                    <a:lnTo>
                      <a:pt x="5" y="23"/>
                    </a:lnTo>
                    <a:close/>
                    <a:moveTo>
                      <a:pt x="25" y="16"/>
                    </a:moveTo>
                    <a:cubicBezTo>
                      <a:pt x="25" y="21"/>
                      <a:pt x="23" y="23"/>
                      <a:pt x="20" y="23"/>
                    </a:cubicBezTo>
                    <a:cubicBezTo>
                      <a:pt x="17" y="23"/>
                      <a:pt x="15" y="21"/>
                      <a:pt x="15" y="16"/>
                    </a:cubicBezTo>
                    <a:cubicBezTo>
                      <a:pt x="15" y="12"/>
                      <a:pt x="17" y="9"/>
                      <a:pt x="20" y="9"/>
                    </a:cubicBezTo>
                    <a:cubicBezTo>
                      <a:pt x="23" y="9"/>
                      <a:pt x="25" y="12"/>
                      <a:pt x="25" y="16"/>
                    </a:cubicBezTo>
                    <a:close/>
                    <a:moveTo>
                      <a:pt x="17" y="16"/>
                    </a:moveTo>
                    <a:cubicBezTo>
                      <a:pt x="17" y="19"/>
                      <a:pt x="18" y="21"/>
                      <a:pt x="20" y="21"/>
                    </a:cubicBezTo>
                    <a:cubicBezTo>
                      <a:pt x="22" y="21"/>
                      <a:pt x="23" y="19"/>
                      <a:pt x="23" y="16"/>
                    </a:cubicBezTo>
                    <a:cubicBezTo>
                      <a:pt x="23" y="13"/>
                      <a:pt x="22" y="11"/>
                      <a:pt x="20" y="11"/>
                    </a:cubicBezTo>
                    <a:cubicBezTo>
                      <a:pt x="18" y="11"/>
                      <a:pt x="17" y="13"/>
                      <a:pt x="17" y="16"/>
                    </a:cubicBezTo>
                    <a:close/>
                  </a:path>
                </a:pathLst>
              </a:custGeom>
              <a:solidFill>
                <a:srgbClr val="E149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74" name="组合 73"/>
          <p:cNvGrpSpPr/>
          <p:nvPr/>
        </p:nvGrpSpPr>
        <p:grpSpPr>
          <a:xfrm>
            <a:off x="1051223" y="2523456"/>
            <a:ext cx="4414837" cy="398463"/>
            <a:chOff x="684213" y="2393950"/>
            <a:chExt cx="4414837" cy="398463"/>
          </a:xfrm>
        </p:grpSpPr>
        <p:sp>
          <p:nvSpPr>
            <p:cNvPr id="10" name="Rectangle 8"/>
            <p:cNvSpPr>
              <a:spLocks noChangeArrowheads="1"/>
            </p:cNvSpPr>
            <p:nvPr/>
          </p:nvSpPr>
          <p:spPr bwMode="auto">
            <a:xfrm>
              <a:off x="684213" y="2497138"/>
              <a:ext cx="1376362" cy="295275"/>
            </a:xfrm>
            <a:prstGeom prst="rect">
              <a:avLst/>
            </a:prstGeom>
            <a:solidFill>
              <a:srgbClr val="739F9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1" name="Rectangle 9"/>
            <p:cNvSpPr>
              <a:spLocks noChangeArrowheads="1"/>
            </p:cNvSpPr>
            <p:nvPr/>
          </p:nvSpPr>
          <p:spPr bwMode="auto">
            <a:xfrm>
              <a:off x="1843088" y="2393950"/>
              <a:ext cx="2649537" cy="288925"/>
            </a:xfrm>
            <a:prstGeom prst="rect">
              <a:avLst/>
            </a:prstGeom>
            <a:solidFill>
              <a:srgbClr val="88BA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2" name="Freeform 10"/>
            <p:cNvSpPr/>
            <p:nvPr/>
          </p:nvSpPr>
          <p:spPr bwMode="auto">
            <a:xfrm>
              <a:off x="1843088" y="2682875"/>
              <a:ext cx="217487" cy="109538"/>
            </a:xfrm>
            <a:custGeom>
              <a:avLst/>
              <a:gdLst>
                <a:gd name="T0" fmla="*/ 137 w 137"/>
                <a:gd name="T1" fmla="*/ 69 h 69"/>
                <a:gd name="T2" fmla="*/ 137 w 137"/>
                <a:gd name="T3" fmla="*/ 0 h 69"/>
                <a:gd name="T4" fmla="*/ 0 w 137"/>
                <a:gd name="T5" fmla="*/ 0 h 69"/>
                <a:gd name="T6" fmla="*/ 137 w 137"/>
                <a:gd name="T7" fmla="*/ 69 h 69"/>
              </a:gdLst>
              <a:ahLst/>
              <a:cxnLst>
                <a:cxn ang="0">
                  <a:pos x="T0" y="T1"/>
                </a:cxn>
                <a:cxn ang="0">
                  <a:pos x="T2" y="T3"/>
                </a:cxn>
                <a:cxn ang="0">
                  <a:pos x="T4" y="T5"/>
                </a:cxn>
                <a:cxn ang="0">
                  <a:pos x="T6" y="T7"/>
                </a:cxn>
              </a:cxnLst>
              <a:rect l="0" t="0" r="r" b="b"/>
              <a:pathLst>
                <a:path w="137" h="69">
                  <a:moveTo>
                    <a:pt x="137" y="69"/>
                  </a:moveTo>
                  <a:lnTo>
                    <a:pt x="137" y="0"/>
                  </a:lnTo>
                  <a:lnTo>
                    <a:pt x="0" y="0"/>
                  </a:lnTo>
                  <a:lnTo>
                    <a:pt x="137" y="69"/>
                  </a:lnTo>
                  <a:close/>
                </a:path>
              </a:pathLst>
            </a:custGeom>
            <a:solidFill>
              <a:srgbClr val="486967"/>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 name="Freeform 60"/>
            <p:cNvSpPr/>
            <p:nvPr/>
          </p:nvSpPr>
          <p:spPr bwMode="auto">
            <a:xfrm>
              <a:off x="4684713" y="2470150"/>
              <a:ext cx="95250" cy="157163"/>
            </a:xfrm>
            <a:custGeom>
              <a:avLst/>
              <a:gdLst>
                <a:gd name="T0" fmla="*/ 14 w 14"/>
                <a:gd name="T1" fmla="*/ 2 h 23"/>
                <a:gd name="T2" fmla="*/ 5 w 14"/>
                <a:gd name="T3" fmla="*/ 2 h 23"/>
                <a:gd name="T4" fmla="*/ 4 w 14"/>
                <a:gd name="T5" fmla="*/ 8 h 23"/>
                <a:gd name="T6" fmla="*/ 6 w 14"/>
                <a:gd name="T7" fmla="*/ 8 h 23"/>
                <a:gd name="T8" fmla="*/ 11 w 14"/>
                <a:gd name="T9" fmla="*/ 9 h 23"/>
                <a:gd name="T10" fmla="*/ 14 w 14"/>
                <a:gd name="T11" fmla="*/ 15 h 23"/>
                <a:gd name="T12" fmla="*/ 6 w 14"/>
                <a:gd name="T13" fmla="*/ 23 h 23"/>
                <a:gd name="T14" fmla="*/ 0 w 14"/>
                <a:gd name="T15" fmla="*/ 21 h 23"/>
                <a:gd name="T16" fmla="*/ 1 w 14"/>
                <a:gd name="T17" fmla="*/ 19 h 23"/>
                <a:gd name="T18" fmla="*/ 6 w 14"/>
                <a:gd name="T19" fmla="*/ 20 h 23"/>
                <a:gd name="T20" fmla="*/ 11 w 14"/>
                <a:gd name="T21" fmla="*/ 15 h 23"/>
                <a:gd name="T22" fmla="*/ 5 w 14"/>
                <a:gd name="T23" fmla="*/ 10 h 23"/>
                <a:gd name="T24" fmla="*/ 1 w 14"/>
                <a:gd name="T25" fmla="*/ 10 h 23"/>
                <a:gd name="T26" fmla="*/ 3 w 14"/>
                <a:gd name="T27" fmla="*/ 0 h 23"/>
                <a:gd name="T28" fmla="*/ 14 w 14"/>
                <a:gd name="T29" fmla="*/ 0 h 23"/>
                <a:gd name="T30" fmla="*/ 14 w 14"/>
                <a:gd name="T31"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23">
                  <a:moveTo>
                    <a:pt x="14" y="2"/>
                  </a:moveTo>
                  <a:cubicBezTo>
                    <a:pt x="5" y="2"/>
                    <a:pt x="5" y="2"/>
                    <a:pt x="5" y="2"/>
                  </a:cubicBezTo>
                  <a:cubicBezTo>
                    <a:pt x="4" y="8"/>
                    <a:pt x="4" y="8"/>
                    <a:pt x="4" y="8"/>
                  </a:cubicBezTo>
                  <a:cubicBezTo>
                    <a:pt x="5" y="8"/>
                    <a:pt x="5" y="8"/>
                    <a:pt x="6" y="8"/>
                  </a:cubicBezTo>
                  <a:cubicBezTo>
                    <a:pt x="8" y="8"/>
                    <a:pt x="10" y="8"/>
                    <a:pt x="11" y="9"/>
                  </a:cubicBezTo>
                  <a:cubicBezTo>
                    <a:pt x="13" y="10"/>
                    <a:pt x="14" y="12"/>
                    <a:pt x="14" y="15"/>
                  </a:cubicBezTo>
                  <a:cubicBezTo>
                    <a:pt x="14" y="19"/>
                    <a:pt x="11" y="23"/>
                    <a:pt x="6" y="23"/>
                  </a:cubicBezTo>
                  <a:cubicBezTo>
                    <a:pt x="3" y="23"/>
                    <a:pt x="1" y="22"/>
                    <a:pt x="0" y="21"/>
                  </a:cubicBezTo>
                  <a:cubicBezTo>
                    <a:pt x="1" y="19"/>
                    <a:pt x="1" y="19"/>
                    <a:pt x="1" y="19"/>
                  </a:cubicBezTo>
                  <a:cubicBezTo>
                    <a:pt x="2" y="19"/>
                    <a:pt x="4" y="20"/>
                    <a:pt x="6" y="20"/>
                  </a:cubicBezTo>
                  <a:cubicBezTo>
                    <a:pt x="9" y="20"/>
                    <a:pt x="11" y="18"/>
                    <a:pt x="11" y="15"/>
                  </a:cubicBezTo>
                  <a:cubicBezTo>
                    <a:pt x="11" y="12"/>
                    <a:pt x="9" y="10"/>
                    <a:pt x="5" y="10"/>
                  </a:cubicBezTo>
                  <a:cubicBezTo>
                    <a:pt x="3" y="10"/>
                    <a:pt x="2" y="10"/>
                    <a:pt x="1" y="10"/>
                  </a:cubicBezTo>
                  <a:cubicBezTo>
                    <a:pt x="3" y="0"/>
                    <a:pt x="3" y="0"/>
                    <a:pt x="3" y="0"/>
                  </a:cubicBezTo>
                  <a:cubicBezTo>
                    <a:pt x="14" y="0"/>
                    <a:pt x="14" y="0"/>
                    <a:pt x="14" y="0"/>
                  </a:cubicBezTo>
                  <a:lnTo>
                    <a:pt x="14" y="2"/>
                  </a:lnTo>
                  <a:close/>
                </a:path>
              </a:pathLst>
            </a:custGeom>
            <a:solidFill>
              <a:srgbClr val="88BA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 name="Freeform 61"/>
            <p:cNvSpPr>
              <a:spLocks noEditPoints="1"/>
            </p:cNvSpPr>
            <p:nvPr/>
          </p:nvSpPr>
          <p:spPr bwMode="auto">
            <a:xfrm>
              <a:off x="4806950" y="2463800"/>
              <a:ext cx="101600" cy="163513"/>
            </a:xfrm>
            <a:custGeom>
              <a:avLst/>
              <a:gdLst>
                <a:gd name="T0" fmla="*/ 13 w 15"/>
                <a:gd name="T1" fmla="*/ 3 h 24"/>
                <a:gd name="T2" fmla="*/ 11 w 15"/>
                <a:gd name="T3" fmla="*/ 3 h 24"/>
                <a:gd name="T4" fmla="*/ 3 w 15"/>
                <a:gd name="T5" fmla="*/ 11 h 24"/>
                <a:gd name="T6" fmla="*/ 3 w 15"/>
                <a:gd name="T7" fmla="*/ 11 h 24"/>
                <a:gd name="T8" fmla="*/ 8 w 15"/>
                <a:gd name="T9" fmla="*/ 8 h 24"/>
                <a:gd name="T10" fmla="*/ 15 w 15"/>
                <a:gd name="T11" fmla="*/ 16 h 24"/>
                <a:gd name="T12" fmla="*/ 8 w 15"/>
                <a:gd name="T13" fmla="*/ 24 h 24"/>
                <a:gd name="T14" fmla="*/ 0 w 15"/>
                <a:gd name="T15" fmla="*/ 14 h 24"/>
                <a:gd name="T16" fmla="*/ 3 w 15"/>
                <a:gd name="T17" fmla="*/ 4 h 24"/>
                <a:gd name="T18" fmla="*/ 11 w 15"/>
                <a:gd name="T19" fmla="*/ 0 h 24"/>
                <a:gd name="T20" fmla="*/ 13 w 15"/>
                <a:gd name="T21" fmla="*/ 0 h 24"/>
                <a:gd name="T22" fmla="*/ 13 w 15"/>
                <a:gd name="T23" fmla="*/ 3 h 24"/>
                <a:gd name="T24" fmla="*/ 12 w 15"/>
                <a:gd name="T25" fmla="*/ 16 h 24"/>
                <a:gd name="T26" fmla="*/ 7 w 15"/>
                <a:gd name="T27" fmla="*/ 11 h 24"/>
                <a:gd name="T28" fmla="*/ 3 w 15"/>
                <a:gd name="T29" fmla="*/ 13 h 24"/>
                <a:gd name="T30" fmla="*/ 3 w 15"/>
                <a:gd name="T31" fmla="*/ 15 h 24"/>
                <a:gd name="T32" fmla="*/ 8 w 15"/>
                <a:gd name="T33" fmla="*/ 21 h 24"/>
                <a:gd name="T34" fmla="*/ 12 w 15"/>
                <a:gd name="T35"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4">
                  <a:moveTo>
                    <a:pt x="13" y="3"/>
                  </a:moveTo>
                  <a:cubicBezTo>
                    <a:pt x="12" y="3"/>
                    <a:pt x="12" y="3"/>
                    <a:pt x="11" y="3"/>
                  </a:cubicBezTo>
                  <a:cubicBezTo>
                    <a:pt x="6" y="4"/>
                    <a:pt x="3" y="7"/>
                    <a:pt x="3" y="11"/>
                  </a:cubicBezTo>
                  <a:cubicBezTo>
                    <a:pt x="3" y="11"/>
                    <a:pt x="3" y="11"/>
                    <a:pt x="3" y="11"/>
                  </a:cubicBezTo>
                  <a:cubicBezTo>
                    <a:pt x="4" y="10"/>
                    <a:pt x="6" y="8"/>
                    <a:pt x="8" y="8"/>
                  </a:cubicBezTo>
                  <a:cubicBezTo>
                    <a:pt x="12" y="8"/>
                    <a:pt x="15" y="11"/>
                    <a:pt x="15" y="16"/>
                  </a:cubicBezTo>
                  <a:cubicBezTo>
                    <a:pt x="15" y="20"/>
                    <a:pt x="12" y="24"/>
                    <a:pt x="8" y="24"/>
                  </a:cubicBezTo>
                  <a:cubicBezTo>
                    <a:pt x="3" y="24"/>
                    <a:pt x="0" y="20"/>
                    <a:pt x="0" y="14"/>
                  </a:cubicBezTo>
                  <a:cubicBezTo>
                    <a:pt x="0" y="10"/>
                    <a:pt x="1" y="6"/>
                    <a:pt x="3" y="4"/>
                  </a:cubicBezTo>
                  <a:cubicBezTo>
                    <a:pt x="5" y="2"/>
                    <a:pt x="8" y="1"/>
                    <a:pt x="11" y="0"/>
                  </a:cubicBezTo>
                  <a:cubicBezTo>
                    <a:pt x="12" y="0"/>
                    <a:pt x="12" y="0"/>
                    <a:pt x="13" y="0"/>
                  </a:cubicBezTo>
                  <a:lnTo>
                    <a:pt x="13" y="3"/>
                  </a:lnTo>
                  <a:close/>
                  <a:moveTo>
                    <a:pt x="12" y="16"/>
                  </a:moveTo>
                  <a:cubicBezTo>
                    <a:pt x="12" y="13"/>
                    <a:pt x="10" y="11"/>
                    <a:pt x="7" y="11"/>
                  </a:cubicBezTo>
                  <a:cubicBezTo>
                    <a:pt x="6" y="11"/>
                    <a:pt x="4" y="12"/>
                    <a:pt x="3" y="13"/>
                  </a:cubicBezTo>
                  <a:cubicBezTo>
                    <a:pt x="3" y="14"/>
                    <a:pt x="3" y="14"/>
                    <a:pt x="3" y="15"/>
                  </a:cubicBezTo>
                  <a:cubicBezTo>
                    <a:pt x="3" y="18"/>
                    <a:pt x="4" y="21"/>
                    <a:pt x="8" y="21"/>
                  </a:cubicBezTo>
                  <a:cubicBezTo>
                    <a:pt x="10" y="21"/>
                    <a:pt x="12" y="19"/>
                    <a:pt x="12" y="16"/>
                  </a:cubicBezTo>
                  <a:close/>
                </a:path>
              </a:pathLst>
            </a:custGeom>
            <a:solidFill>
              <a:srgbClr val="88BA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 name="Freeform 62"/>
            <p:cNvSpPr>
              <a:spLocks noEditPoints="1"/>
            </p:cNvSpPr>
            <p:nvPr/>
          </p:nvSpPr>
          <p:spPr bwMode="auto">
            <a:xfrm>
              <a:off x="4922838" y="2463800"/>
              <a:ext cx="176212" cy="163513"/>
            </a:xfrm>
            <a:custGeom>
              <a:avLst/>
              <a:gdLst>
                <a:gd name="T0" fmla="*/ 11 w 26"/>
                <a:gd name="T1" fmla="*/ 7 h 24"/>
                <a:gd name="T2" fmla="*/ 6 w 26"/>
                <a:gd name="T3" fmla="*/ 14 h 24"/>
                <a:gd name="T4" fmla="*/ 0 w 26"/>
                <a:gd name="T5" fmla="*/ 7 h 24"/>
                <a:gd name="T6" fmla="*/ 6 w 26"/>
                <a:gd name="T7" fmla="*/ 0 h 24"/>
                <a:gd name="T8" fmla="*/ 11 w 26"/>
                <a:gd name="T9" fmla="*/ 7 h 24"/>
                <a:gd name="T10" fmla="*/ 3 w 26"/>
                <a:gd name="T11" fmla="*/ 7 h 24"/>
                <a:gd name="T12" fmla="*/ 6 w 26"/>
                <a:gd name="T13" fmla="*/ 12 h 24"/>
                <a:gd name="T14" fmla="*/ 9 w 26"/>
                <a:gd name="T15" fmla="*/ 7 h 24"/>
                <a:gd name="T16" fmla="*/ 6 w 26"/>
                <a:gd name="T17" fmla="*/ 2 h 24"/>
                <a:gd name="T18" fmla="*/ 3 w 26"/>
                <a:gd name="T19" fmla="*/ 7 h 24"/>
                <a:gd name="T20" fmla="*/ 5 w 26"/>
                <a:gd name="T21" fmla="*/ 24 h 24"/>
                <a:gd name="T22" fmla="*/ 19 w 26"/>
                <a:gd name="T23" fmla="*/ 0 h 24"/>
                <a:gd name="T24" fmla="*/ 21 w 26"/>
                <a:gd name="T25" fmla="*/ 0 h 24"/>
                <a:gd name="T26" fmla="*/ 7 w 26"/>
                <a:gd name="T27" fmla="*/ 24 h 24"/>
                <a:gd name="T28" fmla="*/ 5 w 26"/>
                <a:gd name="T29" fmla="*/ 24 h 24"/>
                <a:gd name="T30" fmla="*/ 26 w 26"/>
                <a:gd name="T31" fmla="*/ 16 h 24"/>
                <a:gd name="T32" fmla="*/ 20 w 26"/>
                <a:gd name="T33" fmla="*/ 23 h 24"/>
                <a:gd name="T34" fmla="*/ 15 w 26"/>
                <a:gd name="T35" fmla="*/ 17 h 24"/>
                <a:gd name="T36" fmla="*/ 21 w 26"/>
                <a:gd name="T37" fmla="*/ 10 h 24"/>
                <a:gd name="T38" fmla="*/ 26 w 26"/>
                <a:gd name="T39" fmla="*/ 16 h 24"/>
                <a:gd name="T40" fmla="*/ 17 w 26"/>
                <a:gd name="T41" fmla="*/ 17 h 24"/>
                <a:gd name="T42" fmla="*/ 20 w 26"/>
                <a:gd name="T43" fmla="*/ 22 h 24"/>
                <a:gd name="T44" fmla="*/ 23 w 26"/>
                <a:gd name="T45" fmla="*/ 16 h 24"/>
                <a:gd name="T46" fmla="*/ 20 w 26"/>
                <a:gd name="T47" fmla="*/ 11 h 24"/>
                <a:gd name="T48" fmla="*/ 17 w 26"/>
                <a:gd name="T49"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24">
                  <a:moveTo>
                    <a:pt x="11" y="7"/>
                  </a:moveTo>
                  <a:cubicBezTo>
                    <a:pt x="11" y="12"/>
                    <a:pt x="9" y="14"/>
                    <a:pt x="6" y="14"/>
                  </a:cubicBezTo>
                  <a:cubicBezTo>
                    <a:pt x="3" y="14"/>
                    <a:pt x="0" y="12"/>
                    <a:pt x="0" y="7"/>
                  </a:cubicBezTo>
                  <a:cubicBezTo>
                    <a:pt x="0" y="3"/>
                    <a:pt x="3" y="0"/>
                    <a:pt x="6" y="0"/>
                  </a:cubicBezTo>
                  <a:cubicBezTo>
                    <a:pt x="9" y="0"/>
                    <a:pt x="11" y="3"/>
                    <a:pt x="11" y="7"/>
                  </a:cubicBezTo>
                  <a:close/>
                  <a:moveTo>
                    <a:pt x="3" y="7"/>
                  </a:moveTo>
                  <a:cubicBezTo>
                    <a:pt x="3" y="10"/>
                    <a:pt x="4" y="12"/>
                    <a:pt x="6" y="12"/>
                  </a:cubicBezTo>
                  <a:cubicBezTo>
                    <a:pt x="8" y="12"/>
                    <a:pt x="9" y="10"/>
                    <a:pt x="9" y="7"/>
                  </a:cubicBezTo>
                  <a:cubicBezTo>
                    <a:pt x="9" y="4"/>
                    <a:pt x="8" y="2"/>
                    <a:pt x="6" y="2"/>
                  </a:cubicBezTo>
                  <a:cubicBezTo>
                    <a:pt x="4" y="2"/>
                    <a:pt x="3" y="4"/>
                    <a:pt x="3" y="7"/>
                  </a:cubicBezTo>
                  <a:close/>
                  <a:moveTo>
                    <a:pt x="5" y="24"/>
                  </a:moveTo>
                  <a:cubicBezTo>
                    <a:pt x="19" y="0"/>
                    <a:pt x="19" y="0"/>
                    <a:pt x="19" y="0"/>
                  </a:cubicBezTo>
                  <a:cubicBezTo>
                    <a:pt x="21" y="0"/>
                    <a:pt x="21" y="0"/>
                    <a:pt x="21" y="0"/>
                  </a:cubicBezTo>
                  <a:cubicBezTo>
                    <a:pt x="7" y="24"/>
                    <a:pt x="7" y="24"/>
                    <a:pt x="7" y="24"/>
                  </a:cubicBezTo>
                  <a:lnTo>
                    <a:pt x="5" y="24"/>
                  </a:lnTo>
                  <a:close/>
                  <a:moveTo>
                    <a:pt x="26" y="16"/>
                  </a:moveTo>
                  <a:cubicBezTo>
                    <a:pt x="26" y="21"/>
                    <a:pt x="23" y="23"/>
                    <a:pt x="20" y="23"/>
                  </a:cubicBezTo>
                  <a:cubicBezTo>
                    <a:pt x="18" y="23"/>
                    <a:pt x="15" y="21"/>
                    <a:pt x="15" y="17"/>
                  </a:cubicBezTo>
                  <a:cubicBezTo>
                    <a:pt x="15" y="12"/>
                    <a:pt x="18" y="10"/>
                    <a:pt x="21" y="10"/>
                  </a:cubicBezTo>
                  <a:cubicBezTo>
                    <a:pt x="24" y="10"/>
                    <a:pt x="26" y="12"/>
                    <a:pt x="26" y="16"/>
                  </a:cubicBezTo>
                  <a:close/>
                  <a:moveTo>
                    <a:pt x="17" y="17"/>
                  </a:moveTo>
                  <a:cubicBezTo>
                    <a:pt x="17" y="19"/>
                    <a:pt x="19" y="22"/>
                    <a:pt x="20" y="22"/>
                  </a:cubicBezTo>
                  <a:cubicBezTo>
                    <a:pt x="22" y="22"/>
                    <a:pt x="23" y="19"/>
                    <a:pt x="23" y="16"/>
                  </a:cubicBezTo>
                  <a:cubicBezTo>
                    <a:pt x="23" y="14"/>
                    <a:pt x="23" y="11"/>
                    <a:pt x="20" y="11"/>
                  </a:cubicBezTo>
                  <a:cubicBezTo>
                    <a:pt x="19" y="11"/>
                    <a:pt x="17" y="14"/>
                    <a:pt x="17" y="17"/>
                  </a:cubicBezTo>
                  <a:close/>
                </a:path>
              </a:pathLst>
            </a:custGeom>
            <a:solidFill>
              <a:srgbClr val="88BA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73" name="组合 72"/>
          <p:cNvGrpSpPr/>
          <p:nvPr/>
        </p:nvGrpSpPr>
        <p:grpSpPr>
          <a:xfrm>
            <a:off x="1051223" y="3323307"/>
            <a:ext cx="3843337" cy="398463"/>
            <a:chOff x="684213" y="2868613"/>
            <a:chExt cx="3843337" cy="398463"/>
          </a:xfrm>
        </p:grpSpPr>
        <p:sp>
          <p:nvSpPr>
            <p:cNvPr id="13" name="Rectangle 11"/>
            <p:cNvSpPr>
              <a:spLocks noChangeArrowheads="1"/>
            </p:cNvSpPr>
            <p:nvPr/>
          </p:nvSpPr>
          <p:spPr bwMode="auto">
            <a:xfrm>
              <a:off x="684213" y="2978150"/>
              <a:ext cx="1376362" cy="288925"/>
            </a:xfrm>
            <a:prstGeom prst="rect">
              <a:avLst/>
            </a:prstGeom>
            <a:solidFill>
              <a:schemeClr val="accent6">
                <a:lumMod val="75000"/>
              </a:schemeClr>
            </a:solidFill>
            <a:ln>
              <a:noFill/>
            </a:ln>
          </p:spPr>
          <p:txBody>
            <a:bodyPr vert="horz" wrap="square" lIns="91440" tIns="45720" rIns="91440" bIns="45720" numCol="1" anchor="t" anchorCtr="0" compatLnSpc="1"/>
            <a:lstStyle/>
            <a:p>
              <a:endParaRPr lang="zh-CN" altLang="en-US"/>
            </a:p>
          </p:txBody>
        </p:sp>
        <p:sp>
          <p:nvSpPr>
            <p:cNvPr id="14" name="Rectangle 12"/>
            <p:cNvSpPr>
              <a:spLocks noChangeArrowheads="1"/>
            </p:cNvSpPr>
            <p:nvPr/>
          </p:nvSpPr>
          <p:spPr bwMode="auto">
            <a:xfrm>
              <a:off x="1843088" y="2868613"/>
              <a:ext cx="2057400" cy="295275"/>
            </a:xfrm>
            <a:prstGeom prst="rect">
              <a:avLst/>
            </a:prstGeom>
            <a:solidFill>
              <a:srgbClr val="FFC000"/>
            </a:solidFill>
            <a:ln>
              <a:noFill/>
            </a:ln>
          </p:spPr>
          <p:txBody>
            <a:bodyPr vert="horz" wrap="square" lIns="91440" tIns="45720" rIns="91440" bIns="45720" numCol="1" anchor="t" anchorCtr="0" compatLnSpc="1"/>
            <a:lstStyle/>
            <a:p>
              <a:endParaRPr lang="zh-CN" altLang="en-US"/>
            </a:p>
          </p:txBody>
        </p:sp>
        <p:sp>
          <p:nvSpPr>
            <p:cNvPr id="15" name="Freeform 13"/>
            <p:cNvSpPr/>
            <p:nvPr/>
          </p:nvSpPr>
          <p:spPr bwMode="auto">
            <a:xfrm>
              <a:off x="1843088" y="3163888"/>
              <a:ext cx="217487" cy="103188"/>
            </a:xfrm>
            <a:custGeom>
              <a:avLst/>
              <a:gdLst>
                <a:gd name="T0" fmla="*/ 137 w 137"/>
                <a:gd name="T1" fmla="*/ 65 h 65"/>
                <a:gd name="T2" fmla="*/ 137 w 137"/>
                <a:gd name="T3" fmla="*/ 0 h 65"/>
                <a:gd name="T4" fmla="*/ 0 w 137"/>
                <a:gd name="T5" fmla="*/ 0 h 65"/>
                <a:gd name="T6" fmla="*/ 137 w 137"/>
                <a:gd name="T7" fmla="*/ 65 h 65"/>
              </a:gdLst>
              <a:ahLst/>
              <a:cxnLst>
                <a:cxn ang="0">
                  <a:pos x="T0" y="T1"/>
                </a:cxn>
                <a:cxn ang="0">
                  <a:pos x="T2" y="T3"/>
                </a:cxn>
                <a:cxn ang="0">
                  <a:pos x="T4" y="T5"/>
                </a:cxn>
                <a:cxn ang="0">
                  <a:pos x="T6" y="T7"/>
                </a:cxn>
              </a:cxnLst>
              <a:rect l="0" t="0" r="r" b="b"/>
              <a:pathLst>
                <a:path w="137" h="65">
                  <a:moveTo>
                    <a:pt x="137" y="65"/>
                  </a:moveTo>
                  <a:lnTo>
                    <a:pt x="137" y="0"/>
                  </a:lnTo>
                  <a:lnTo>
                    <a:pt x="0" y="0"/>
                  </a:lnTo>
                  <a:lnTo>
                    <a:pt x="137" y="65"/>
                  </a:lnTo>
                  <a:close/>
                </a:path>
              </a:pathLst>
            </a:custGeom>
            <a:solidFill>
              <a:schemeClr val="accent6">
                <a:lumMod val="50000"/>
              </a:schemeClr>
            </a:solidFill>
            <a:ln>
              <a:noFill/>
            </a:ln>
          </p:spPr>
          <p:txBody>
            <a:bodyPr vert="horz" wrap="square" lIns="91440" tIns="45720" rIns="91440" bIns="45720" numCol="1" anchor="t" anchorCtr="0" compatLnSpc="1"/>
            <a:lstStyle/>
            <a:p>
              <a:endParaRPr lang="zh-CN" altLang="en-US"/>
            </a:p>
          </p:txBody>
        </p:sp>
        <p:sp>
          <p:nvSpPr>
            <p:cNvPr id="65" name="Freeform 63"/>
            <p:cNvSpPr>
              <a:spLocks noEditPoints="1"/>
            </p:cNvSpPr>
            <p:nvPr/>
          </p:nvSpPr>
          <p:spPr bwMode="auto">
            <a:xfrm>
              <a:off x="4111625" y="2936875"/>
              <a:ext cx="109537" cy="157163"/>
            </a:xfrm>
            <a:custGeom>
              <a:avLst/>
              <a:gdLst>
                <a:gd name="T0" fmla="*/ 10 w 16"/>
                <a:gd name="T1" fmla="*/ 23 h 23"/>
                <a:gd name="T2" fmla="*/ 10 w 16"/>
                <a:gd name="T3" fmla="*/ 17 h 23"/>
                <a:gd name="T4" fmla="*/ 0 w 16"/>
                <a:gd name="T5" fmla="*/ 17 h 23"/>
                <a:gd name="T6" fmla="*/ 0 w 16"/>
                <a:gd name="T7" fmla="*/ 15 h 23"/>
                <a:gd name="T8" fmla="*/ 10 w 16"/>
                <a:gd name="T9" fmla="*/ 0 h 23"/>
                <a:gd name="T10" fmla="*/ 13 w 16"/>
                <a:gd name="T11" fmla="*/ 0 h 23"/>
                <a:gd name="T12" fmla="*/ 13 w 16"/>
                <a:gd name="T13" fmla="*/ 14 h 23"/>
                <a:gd name="T14" fmla="*/ 16 w 16"/>
                <a:gd name="T15" fmla="*/ 14 h 23"/>
                <a:gd name="T16" fmla="*/ 16 w 16"/>
                <a:gd name="T17" fmla="*/ 17 h 23"/>
                <a:gd name="T18" fmla="*/ 13 w 16"/>
                <a:gd name="T19" fmla="*/ 17 h 23"/>
                <a:gd name="T20" fmla="*/ 13 w 16"/>
                <a:gd name="T21" fmla="*/ 23 h 23"/>
                <a:gd name="T22" fmla="*/ 10 w 16"/>
                <a:gd name="T23" fmla="*/ 23 h 23"/>
                <a:gd name="T24" fmla="*/ 10 w 16"/>
                <a:gd name="T25" fmla="*/ 14 h 23"/>
                <a:gd name="T26" fmla="*/ 10 w 16"/>
                <a:gd name="T27" fmla="*/ 7 h 23"/>
                <a:gd name="T28" fmla="*/ 10 w 16"/>
                <a:gd name="T29" fmla="*/ 3 h 23"/>
                <a:gd name="T30" fmla="*/ 10 w 16"/>
                <a:gd name="T31" fmla="*/ 3 h 23"/>
                <a:gd name="T32" fmla="*/ 8 w 16"/>
                <a:gd name="T33" fmla="*/ 7 h 23"/>
                <a:gd name="T34" fmla="*/ 3 w 16"/>
                <a:gd name="T35" fmla="*/ 14 h 23"/>
                <a:gd name="T36" fmla="*/ 3 w 16"/>
                <a:gd name="T37" fmla="*/ 14 h 23"/>
                <a:gd name="T38" fmla="*/ 10 w 16"/>
                <a:gd name="T3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3">
                  <a:moveTo>
                    <a:pt x="10" y="23"/>
                  </a:moveTo>
                  <a:cubicBezTo>
                    <a:pt x="10" y="17"/>
                    <a:pt x="10" y="17"/>
                    <a:pt x="10" y="17"/>
                  </a:cubicBezTo>
                  <a:cubicBezTo>
                    <a:pt x="0" y="17"/>
                    <a:pt x="0" y="17"/>
                    <a:pt x="0" y="17"/>
                  </a:cubicBezTo>
                  <a:cubicBezTo>
                    <a:pt x="0" y="15"/>
                    <a:pt x="0" y="15"/>
                    <a:pt x="0" y="15"/>
                  </a:cubicBezTo>
                  <a:cubicBezTo>
                    <a:pt x="10" y="0"/>
                    <a:pt x="10" y="0"/>
                    <a:pt x="10" y="0"/>
                  </a:cubicBezTo>
                  <a:cubicBezTo>
                    <a:pt x="13" y="0"/>
                    <a:pt x="13" y="0"/>
                    <a:pt x="13" y="0"/>
                  </a:cubicBezTo>
                  <a:cubicBezTo>
                    <a:pt x="13" y="14"/>
                    <a:pt x="13" y="14"/>
                    <a:pt x="13" y="14"/>
                  </a:cubicBezTo>
                  <a:cubicBezTo>
                    <a:pt x="16" y="14"/>
                    <a:pt x="16" y="14"/>
                    <a:pt x="16" y="14"/>
                  </a:cubicBezTo>
                  <a:cubicBezTo>
                    <a:pt x="16" y="17"/>
                    <a:pt x="16" y="17"/>
                    <a:pt x="16" y="17"/>
                  </a:cubicBezTo>
                  <a:cubicBezTo>
                    <a:pt x="13" y="17"/>
                    <a:pt x="13" y="17"/>
                    <a:pt x="13" y="17"/>
                  </a:cubicBezTo>
                  <a:cubicBezTo>
                    <a:pt x="13" y="23"/>
                    <a:pt x="13" y="23"/>
                    <a:pt x="13" y="23"/>
                  </a:cubicBezTo>
                  <a:lnTo>
                    <a:pt x="10" y="23"/>
                  </a:lnTo>
                  <a:close/>
                  <a:moveTo>
                    <a:pt x="10" y="14"/>
                  </a:moveTo>
                  <a:cubicBezTo>
                    <a:pt x="10" y="7"/>
                    <a:pt x="10" y="7"/>
                    <a:pt x="10" y="7"/>
                  </a:cubicBezTo>
                  <a:cubicBezTo>
                    <a:pt x="10" y="6"/>
                    <a:pt x="10" y="5"/>
                    <a:pt x="10" y="3"/>
                  </a:cubicBezTo>
                  <a:cubicBezTo>
                    <a:pt x="10" y="3"/>
                    <a:pt x="10" y="3"/>
                    <a:pt x="10" y="3"/>
                  </a:cubicBezTo>
                  <a:cubicBezTo>
                    <a:pt x="9" y="5"/>
                    <a:pt x="9" y="6"/>
                    <a:pt x="8" y="7"/>
                  </a:cubicBezTo>
                  <a:cubicBezTo>
                    <a:pt x="3" y="14"/>
                    <a:pt x="3" y="14"/>
                    <a:pt x="3" y="14"/>
                  </a:cubicBezTo>
                  <a:cubicBezTo>
                    <a:pt x="3" y="14"/>
                    <a:pt x="3" y="14"/>
                    <a:pt x="3" y="14"/>
                  </a:cubicBezTo>
                  <a:lnTo>
                    <a:pt x="10" y="14"/>
                  </a:lnTo>
                  <a:close/>
                </a:path>
              </a:pathLst>
            </a:custGeom>
            <a:solidFill>
              <a:srgbClr val="EBAA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 name="Freeform 64"/>
            <p:cNvSpPr/>
            <p:nvPr/>
          </p:nvSpPr>
          <p:spPr bwMode="auto">
            <a:xfrm>
              <a:off x="4233863" y="2936875"/>
              <a:ext cx="95250" cy="157163"/>
            </a:xfrm>
            <a:custGeom>
              <a:avLst/>
              <a:gdLst>
                <a:gd name="T0" fmla="*/ 1 w 14"/>
                <a:gd name="T1" fmla="*/ 19 h 23"/>
                <a:gd name="T2" fmla="*/ 6 w 14"/>
                <a:gd name="T3" fmla="*/ 21 h 23"/>
                <a:gd name="T4" fmla="*/ 11 w 14"/>
                <a:gd name="T5" fmla="*/ 17 h 23"/>
                <a:gd name="T6" fmla="*/ 5 w 14"/>
                <a:gd name="T7" fmla="*/ 12 h 23"/>
                <a:gd name="T8" fmla="*/ 4 w 14"/>
                <a:gd name="T9" fmla="*/ 12 h 23"/>
                <a:gd name="T10" fmla="*/ 4 w 14"/>
                <a:gd name="T11" fmla="*/ 10 h 23"/>
                <a:gd name="T12" fmla="*/ 5 w 14"/>
                <a:gd name="T13" fmla="*/ 10 h 23"/>
                <a:gd name="T14" fmla="*/ 10 w 14"/>
                <a:gd name="T15" fmla="*/ 6 h 23"/>
                <a:gd name="T16" fmla="*/ 6 w 14"/>
                <a:gd name="T17" fmla="*/ 2 h 23"/>
                <a:gd name="T18" fmla="*/ 2 w 14"/>
                <a:gd name="T19" fmla="*/ 4 h 23"/>
                <a:gd name="T20" fmla="*/ 1 w 14"/>
                <a:gd name="T21" fmla="*/ 2 h 23"/>
                <a:gd name="T22" fmla="*/ 7 w 14"/>
                <a:gd name="T23" fmla="*/ 0 h 23"/>
                <a:gd name="T24" fmla="*/ 14 w 14"/>
                <a:gd name="T25" fmla="*/ 5 h 23"/>
                <a:gd name="T26" fmla="*/ 9 w 14"/>
                <a:gd name="T27" fmla="*/ 11 h 23"/>
                <a:gd name="T28" fmla="*/ 9 w 14"/>
                <a:gd name="T29" fmla="*/ 11 h 23"/>
                <a:gd name="T30" fmla="*/ 14 w 14"/>
                <a:gd name="T31" fmla="*/ 17 h 23"/>
                <a:gd name="T32" fmla="*/ 6 w 14"/>
                <a:gd name="T33" fmla="*/ 23 h 23"/>
                <a:gd name="T34" fmla="*/ 0 w 14"/>
                <a:gd name="T35" fmla="*/ 22 h 23"/>
                <a:gd name="T36" fmla="*/ 1 w 14"/>
                <a:gd name="T3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3">
                  <a:moveTo>
                    <a:pt x="1" y="19"/>
                  </a:moveTo>
                  <a:cubicBezTo>
                    <a:pt x="2" y="20"/>
                    <a:pt x="4" y="21"/>
                    <a:pt x="6" y="21"/>
                  </a:cubicBezTo>
                  <a:cubicBezTo>
                    <a:pt x="10" y="21"/>
                    <a:pt x="11" y="18"/>
                    <a:pt x="11" y="17"/>
                  </a:cubicBezTo>
                  <a:cubicBezTo>
                    <a:pt x="11" y="13"/>
                    <a:pt x="8" y="12"/>
                    <a:pt x="5" y="12"/>
                  </a:cubicBezTo>
                  <a:cubicBezTo>
                    <a:pt x="4" y="12"/>
                    <a:pt x="4" y="12"/>
                    <a:pt x="4" y="12"/>
                  </a:cubicBezTo>
                  <a:cubicBezTo>
                    <a:pt x="4" y="10"/>
                    <a:pt x="4" y="10"/>
                    <a:pt x="4" y="10"/>
                  </a:cubicBezTo>
                  <a:cubicBezTo>
                    <a:pt x="5" y="10"/>
                    <a:pt x="5" y="10"/>
                    <a:pt x="5" y="10"/>
                  </a:cubicBezTo>
                  <a:cubicBezTo>
                    <a:pt x="8" y="10"/>
                    <a:pt x="10" y="9"/>
                    <a:pt x="10" y="6"/>
                  </a:cubicBezTo>
                  <a:cubicBezTo>
                    <a:pt x="10" y="4"/>
                    <a:pt x="9" y="2"/>
                    <a:pt x="6" y="2"/>
                  </a:cubicBezTo>
                  <a:cubicBezTo>
                    <a:pt x="5" y="2"/>
                    <a:pt x="3" y="3"/>
                    <a:pt x="2" y="4"/>
                  </a:cubicBezTo>
                  <a:cubicBezTo>
                    <a:pt x="1" y="2"/>
                    <a:pt x="1" y="2"/>
                    <a:pt x="1" y="2"/>
                  </a:cubicBezTo>
                  <a:cubicBezTo>
                    <a:pt x="2" y="1"/>
                    <a:pt x="5" y="0"/>
                    <a:pt x="7" y="0"/>
                  </a:cubicBezTo>
                  <a:cubicBezTo>
                    <a:pt x="11" y="0"/>
                    <a:pt x="14" y="3"/>
                    <a:pt x="14" y="5"/>
                  </a:cubicBezTo>
                  <a:cubicBezTo>
                    <a:pt x="14" y="8"/>
                    <a:pt x="12" y="10"/>
                    <a:pt x="9" y="11"/>
                  </a:cubicBezTo>
                  <a:cubicBezTo>
                    <a:pt x="9" y="11"/>
                    <a:pt x="9" y="11"/>
                    <a:pt x="9" y="11"/>
                  </a:cubicBezTo>
                  <a:cubicBezTo>
                    <a:pt x="12" y="11"/>
                    <a:pt x="14" y="13"/>
                    <a:pt x="14" y="17"/>
                  </a:cubicBezTo>
                  <a:cubicBezTo>
                    <a:pt x="14" y="20"/>
                    <a:pt x="12" y="23"/>
                    <a:pt x="6" y="23"/>
                  </a:cubicBezTo>
                  <a:cubicBezTo>
                    <a:pt x="4" y="23"/>
                    <a:pt x="1" y="23"/>
                    <a:pt x="0" y="22"/>
                  </a:cubicBezTo>
                  <a:lnTo>
                    <a:pt x="1" y="19"/>
                  </a:lnTo>
                  <a:close/>
                </a:path>
              </a:pathLst>
            </a:custGeom>
            <a:solidFill>
              <a:srgbClr val="EBAA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 name="Freeform 65"/>
            <p:cNvSpPr>
              <a:spLocks noEditPoints="1"/>
            </p:cNvSpPr>
            <p:nvPr/>
          </p:nvSpPr>
          <p:spPr bwMode="auto">
            <a:xfrm>
              <a:off x="4357688" y="2936875"/>
              <a:ext cx="169862" cy="157163"/>
            </a:xfrm>
            <a:custGeom>
              <a:avLst/>
              <a:gdLst>
                <a:gd name="T0" fmla="*/ 10 w 25"/>
                <a:gd name="T1" fmla="*/ 7 h 23"/>
                <a:gd name="T2" fmla="*/ 5 w 25"/>
                <a:gd name="T3" fmla="*/ 14 h 23"/>
                <a:gd name="T4" fmla="*/ 0 w 25"/>
                <a:gd name="T5" fmla="*/ 7 h 23"/>
                <a:gd name="T6" fmla="*/ 5 w 25"/>
                <a:gd name="T7" fmla="*/ 0 h 23"/>
                <a:gd name="T8" fmla="*/ 10 w 25"/>
                <a:gd name="T9" fmla="*/ 7 h 23"/>
                <a:gd name="T10" fmla="*/ 2 w 25"/>
                <a:gd name="T11" fmla="*/ 7 h 23"/>
                <a:gd name="T12" fmla="*/ 5 w 25"/>
                <a:gd name="T13" fmla="*/ 12 h 23"/>
                <a:gd name="T14" fmla="*/ 8 w 25"/>
                <a:gd name="T15" fmla="*/ 7 h 23"/>
                <a:gd name="T16" fmla="*/ 5 w 25"/>
                <a:gd name="T17" fmla="*/ 2 h 23"/>
                <a:gd name="T18" fmla="*/ 2 w 25"/>
                <a:gd name="T19" fmla="*/ 7 h 23"/>
                <a:gd name="T20" fmla="*/ 5 w 25"/>
                <a:gd name="T21" fmla="*/ 23 h 23"/>
                <a:gd name="T22" fmla="*/ 18 w 25"/>
                <a:gd name="T23" fmla="*/ 0 h 23"/>
                <a:gd name="T24" fmla="*/ 20 w 25"/>
                <a:gd name="T25" fmla="*/ 0 h 23"/>
                <a:gd name="T26" fmla="*/ 7 w 25"/>
                <a:gd name="T27" fmla="*/ 23 h 23"/>
                <a:gd name="T28" fmla="*/ 5 w 25"/>
                <a:gd name="T29" fmla="*/ 23 h 23"/>
                <a:gd name="T30" fmla="*/ 25 w 25"/>
                <a:gd name="T31" fmla="*/ 16 h 23"/>
                <a:gd name="T32" fmla="*/ 20 w 25"/>
                <a:gd name="T33" fmla="*/ 23 h 23"/>
                <a:gd name="T34" fmla="*/ 14 w 25"/>
                <a:gd name="T35" fmla="*/ 16 h 23"/>
                <a:gd name="T36" fmla="*/ 20 w 25"/>
                <a:gd name="T37" fmla="*/ 9 h 23"/>
                <a:gd name="T38" fmla="*/ 25 w 25"/>
                <a:gd name="T39" fmla="*/ 16 h 23"/>
                <a:gd name="T40" fmla="*/ 17 w 25"/>
                <a:gd name="T41" fmla="*/ 16 h 23"/>
                <a:gd name="T42" fmla="*/ 20 w 25"/>
                <a:gd name="T43" fmla="*/ 21 h 23"/>
                <a:gd name="T44" fmla="*/ 23 w 25"/>
                <a:gd name="T45" fmla="*/ 16 h 23"/>
                <a:gd name="T46" fmla="*/ 20 w 25"/>
                <a:gd name="T47" fmla="*/ 11 h 23"/>
                <a:gd name="T48" fmla="*/ 17 w 25"/>
                <a:gd name="T49"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23">
                  <a:moveTo>
                    <a:pt x="10" y="7"/>
                  </a:moveTo>
                  <a:cubicBezTo>
                    <a:pt x="10" y="11"/>
                    <a:pt x="8" y="14"/>
                    <a:pt x="5" y="14"/>
                  </a:cubicBezTo>
                  <a:cubicBezTo>
                    <a:pt x="2" y="14"/>
                    <a:pt x="0" y="12"/>
                    <a:pt x="0" y="7"/>
                  </a:cubicBezTo>
                  <a:cubicBezTo>
                    <a:pt x="0" y="3"/>
                    <a:pt x="2" y="0"/>
                    <a:pt x="5" y="0"/>
                  </a:cubicBezTo>
                  <a:cubicBezTo>
                    <a:pt x="8" y="0"/>
                    <a:pt x="10" y="2"/>
                    <a:pt x="10" y="7"/>
                  </a:cubicBezTo>
                  <a:close/>
                  <a:moveTo>
                    <a:pt x="2" y="7"/>
                  </a:moveTo>
                  <a:cubicBezTo>
                    <a:pt x="2" y="10"/>
                    <a:pt x="3" y="12"/>
                    <a:pt x="5" y="12"/>
                  </a:cubicBezTo>
                  <a:cubicBezTo>
                    <a:pt x="7" y="12"/>
                    <a:pt x="8" y="10"/>
                    <a:pt x="8" y="7"/>
                  </a:cubicBezTo>
                  <a:cubicBezTo>
                    <a:pt x="8" y="4"/>
                    <a:pt x="7" y="2"/>
                    <a:pt x="5" y="2"/>
                  </a:cubicBezTo>
                  <a:cubicBezTo>
                    <a:pt x="3" y="2"/>
                    <a:pt x="2" y="4"/>
                    <a:pt x="2" y="7"/>
                  </a:cubicBezTo>
                  <a:close/>
                  <a:moveTo>
                    <a:pt x="5" y="23"/>
                  </a:moveTo>
                  <a:cubicBezTo>
                    <a:pt x="18" y="0"/>
                    <a:pt x="18" y="0"/>
                    <a:pt x="18" y="0"/>
                  </a:cubicBezTo>
                  <a:cubicBezTo>
                    <a:pt x="20" y="0"/>
                    <a:pt x="20" y="0"/>
                    <a:pt x="20" y="0"/>
                  </a:cubicBezTo>
                  <a:cubicBezTo>
                    <a:pt x="7" y="23"/>
                    <a:pt x="7" y="23"/>
                    <a:pt x="7" y="23"/>
                  </a:cubicBezTo>
                  <a:lnTo>
                    <a:pt x="5" y="23"/>
                  </a:lnTo>
                  <a:close/>
                  <a:moveTo>
                    <a:pt x="25" y="16"/>
                  </a:moveTo>
                  <a:cubicBezTo>
                    <a:pt x="25" y="21"/>
                    <a:pt x="23" y="23"/>
                    <a:pt x="20" y="23"/>
                  </a:cubicBezTo>
                  <a:cubicBezTo>
                    <a:pt x="17" y="23"/>
                    <a:pt x="14" y="21"/>
                    <a:pt x="14" y="16"/>
                  </a:cubicBezTo>
                  <a:cubicBezTo>
                    <a:pt x="14" y="12"/>
                    <a:pt x="17" y="9"/>
                    <a:pt x="20" y="9"/>
                  </a:cubicBezTo>
                  <a:cubicBezTo>
                    <a:pt x="23" y="9"/>
                    <a:pt x="25" y="12"/>
                    <a:pt x="25" y="16"/>
                  </a:cubicBezTo>
                  <a:close/>
                  <a:moveTo>
                    <a:pt x="17" y="16"/>
                  </a:moveTo>
                  <a:cubicBezTo>
                    <a:pt x="17" y="19"/>
                    <a:pt x="18" y="21"/>
                    <a:pt x="20" y="21"/>
                  </a:cubicBezTo>
                  <a:cubicBezTo>
                    <a:pt x="22" y="21"/>
                    <a:pt x="23" y="19"/>
                    <a:pt x="23" y="16"/>
                  </a:cubicBezTo>
                  <a:cubicBezTo>
                    <a:pt x="23" y="13"/>
                    <a:pt x="22" y="11"/>
                    <a:pt x="20" y="11"/>
                  </a:cubicBezTo>
                  <a:cubicBezTo>
                    <a:pt x="18" y="11"/>
                    <a:pt x="17" y="13"/>
                    <a:pt x="17" y="16"/>
                  </a:cubicBezTo>
                  <a:close/>
                </a:path>
              </a:pathLst>
            </a:custGeom>
            <a:solidFill>
              <a:srgbClr val="EBAA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72" name="组合 71"/>
          <p:cNvGrpSpPr/>
          <p:nvPr/>
        </p:nvGrpSpPr>
        <p:grpSpPr>
          <a:xfrm>
            <a:off x="1051223" y="4123158"/>
            <a:ext cx="3228974" cy="390526"/>
            <a:chOff x="684213" y="4123158"/>
            <a:chExt cx="3228974" cy="390526"/>
          </a:xfrm>
        </p:grpSpPr>
        <p:sp>
          <p:nvSpPr>
            <p:cNvPr id="16" name="Rectangle 14"/>
            <p:cNvSpPr>
              <a:spLocks noChangeArrowheads="1"/>
            </p:cNvSpPr>
            <p:nvPr/>
          </p:nvSpPr>
          <p:spPr bwMode="auto">
            <a:xfrm>
              <a:off x="684213" y="4224758"/>
              <a:ext cx="1376362" cy="288925"/>
            </a:xfrm>
            <a:prstGeom prst="rect">
              <a:avLst/>
            </a:prstGeom>
            <a:solidFill>
              <a:schemeClr val="accent3">
                <a:lumMod val="50000"/>
              </a:schemeClr>
            </a:solidFill>
            <a:ln>
              <a:noFill/>
            </a:ln>
          </p:spPr>
          <p:txBody>
            <a:bodyPr vert="horz" wrap="square" lIns="91440" tIns="45720" rIns="91440" bIns="45720" numCol="1" anchor="t" anchorCtr="0" compatLnSpc="1"/>
            <a:lstStyle/>
            <a:p>
              <a:endParaRPr lang="zh-CN" altLang="en-US"/>
            </a:p>
          </p:txBody>
        </p:sp>
        <p:sp>
          <p:nvSpPr>
            <p:cNvPr id="17" name="Rectangle 15"/>
            <p:cNvSpPr>
              <a:spLocks noChangeArrowheads="1"/>
            </p:cNvSpPr>
            <p:nvPr/>
          </p:nvSpPr>
          <p:spPr bwMode="auto">
            <a:xfrm>
              <a:off x="1843088" y="4123158"/>
              <a:ext cx="1498600" cy="287338"/>
            </a:xfrm>
            <a:prstGeom prst="rect">
              <a:avLst/>
            </a:prstGeom>
            <a:solidFill>
              <a:schemeClr val="accent3">
                <a:lumMod val="75000"/>
              </a:schemeClr>
            </a:solidFill>
            <a:ln>
              <a:noFill/>
            </a:ln>
          </p:spPr>
          <p:txBody>
            <a:bodyPr vert="horz" wrap="square" lIns="91440" tIns="45720" rIns="91440" bIns="45720" numCol="1" anchor="t" anchorCtr="0" compatLnSpc="1"/>
            <a:lstStyle/>
            <a:p>
              <a:endParaRPr lang="zh-CN" altLang="en-US"/>
            </a:p>
          </p:txBody>
        </p:sp>
        <p:sp>
          <p:nvSpPr>
            <p:cNvPr id="18" name="Freeform 16"/>
            <p:cNvSpPr/>
            <p:nvPr/>
          </p:nvSpPr>
          <p:spPr bwMode="auto">
            <a:xfrm>
              <a:off x="1843088" y="4410496"/>
              <a:ext cx="217487" cy="103188"/>
            </a:xfrm>
            <a:custGeom>
              <a:avLst/>
              <a:gdLst>
                <a:gd name="T0" fmla="*/ 137 w 137"/>
                <a:gd name="T1" fmla="*/ 65 h 65"/>
                <a:gd name="T2" fmla="*/ 137 w 137"/>
                <a:gd name="T3" fmla="*/ 0 h 65"/>
                <a:gd name="T4" fmla="*/ 0 w 137"/>
                <a:gd name="T5" fmla="*/ 0 h 65"/>
                <a:gd name="T6" fmla="*/ 137 w 137"/>
                <a:gd name="T7" fmla="*/ 65 h 65"/>
              </a:gdLst>
              <a:ahLst/>
              <a:cxnLst>
                <a:cxn ang="0">
                  <a:pos x="T0" y="T1"/>
                </a:cxn>
                <a:cxn ang="0">
                  <a:pos x="T2" y="T3"/>
                </a:cxn>
                <a:cxn ang="0">
                  <a:pos x="T4" y="T5"/>
                </a:cxn>
                <a:cxn ang="0">
                  <a:pos x="T6" y="T7"/>
                </a:cxn>
              </a:cxnLst>
              <a:rect l="0" t="0" r="r" b="b"/>
              <a:pathLst>
                <a:path w="137" h="65">
                  <a:moveTo>
                    <a:pt x="137" y="65"/>
                  </a:moveTo>
                  <a:lnTo>
                    <a:pt x="137" y="0"/>
                  </a:lnTo>
                  <a:lnTo>
                    <a:pt x="0" y="0"/>
                  </a:lnTo>
                  <a:lnTo>
                    <a:pt x="137" y="65"/>
                  </a:lnTo>
                  <a:close/>
                </a:path>
              </a:pathLst>
            </a:custGeom>
            <a:solidFill>
              <a:srgbClr val="1F391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 name="Freeform 66"/>
            <p:cNvSpPr/>
            <p:nvPr/>
          </p:nvSpPr>
          <p:spPr bwMode="auto">
            <a:xfrm>
              <a:off x="3505200" y="4197771"/>
              <a:ext cx="95250" cy="158750"/>
            </a:xfrm>
            <a:custGeom>
              <a:avLst/>
              <a:gdLst>
                <a:gd name="T0" fmla="*/ 0 w 14"/>
                <a:gd name="T1" fmla="*/ 19 h 23"/>
                <a:gd name="T2" fmla="*/ 5 w 14"/>
                <a:gd name="T3" fmla="*/ 21 h 23"/>
                <a:gd name="T4" fmla="*/ 11 w 14"/>
                <a:gd name="T5" fmla="*/ 17 h 23"/>
                <a:gd name="T6" fmla="*/ 5 w 14"/>
                <a:gd name="T7" fmla="*/ 12 h 23"/>
                <a:gd name="T8" fmla="*/ 3 w 14"/>
                <a:gd name="T9" fmla="*/ 12 h 23"/>
                <a:gd name="T10" fmla="*/ 3 w 14"/>
                <a:gd name="T11" fmla="*/ 10 h 23"/>
                <a:gd name="T12" fmla="*/ 5 w 14"/>
                <a:gd name="T13" fmla="*/ 10 h 23"/>
                <a:gd name="T14" fmla="*/ 10 w 14"/>
                <a:gd name="T15" fmla="*/ 6 h 23"/>
                <a:gd name="T16" fmla="*/ 6 w 14"/>
                <a:gd name="T17" fmla="*/ 2 h 23"/>
                <a:gd name="T18" fmla="*/ 1 w 14"/>
                <a:gd name="T19" fmla="*/ 4 h 23"/>
                <a:gd name="T20" fmla="*/ 0 w 14"/>
                <a:gd name="T21" fmla="*/ 2 h 23"/>
                <a:gd name="T22" fmla="*/ 6 w 14"/>
                <a:gd name="T23" fmla="*/ 0 h 23"/>
                <a:gd name="T24" fmla="*/ 13 w 14"/>
                <a:gd name="T25" fmla="*/ 5 h 23"/>
                <a:gd name="T26" fmla="*/ 9 w 14"/>
                <a:gd name="T27" fmla="*/ 11 h 23"/>
                <a:gd name="T28" fmla="*/ 9 w 14"/>
                <a:gd name="T29" fmla="*/ 11 h 23"/>
                <a:gd name="T30" fmla="*/ 14 w 14"/>
                <a:gd name="T31" fmla="*/ 17 h 23"/>
                <a:gd name="T32" fmla="*/ 6 w 14"/>
                <a:gd name="T33" fmla="*/ 23 h 23"/>
                <a:gd name="T34" fmla="*/ 0 w 14"/>
                <a:gd name="T35" fmla="*/ 22 h 23"/>
                <a:gd name="T36" fmla="*/ 0 w 14"/>
                <a:gd name="T37"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3">
                  <a:moveTo>
                    <a:pt x="0" y="19"/>
                  </a:moveTo>
                  <a:cubicBezTo>
                    <a:pt x="1" y="20"/>
                    <a:pt x="3" y="21"/>
                    <a:pt x="5" y="21"/>
                  </a:cubicBezTo>
                  <a:cubicBezTo>
                    <a:pt x="9" y="21"/>
                    <a:pt x="11" y="18"/>
                    <a:pt x="11" y="17"/>
                  </a:cubicBezTo>
                  <a:cubicBezTo>
                    <a:pt x="11" y="13"/>
                    <a:pt x="8" y="12"/>
                    <a:pt x="5" y="12"/>
                  </a:cubicBezTo>
                  <a:cubicBezTo>
                    <a:pt x="3" y="12"/>
                    <a:pt x="3" y="12"/>
                    <a:pt x="3" y="12"/>
                  </a:cubicBezTo>
                  <a:cubicBezTo>
                    <a:pt x="3" y="10"/>
                    <a:pt x="3" y="10"/>
                    <a:pt x="3" y="10"/>
                  </a:cubicBezTo>
                  <a:cubicBezTo>
                    <a:pt x="5" y="10"/>
                    <a:pt x="5" y="10"/>
                    <a:pt x="5" y="10"/>
                  </a:cubicBezTo>
                  <a:cubicBezTo>
                    <a:pt x="7" y="10"/>
                    <a:pt x="10" y="9"/>
                    <a:pt x="10" y="6"/>
                  </a:cubicBezTo>
                  <a:cubicBezTo>
                    <a:pt x="10" y="4"/>
                    <a:pt x="9" y="2"/>
                    <a:pt x="6" y="2"/>
                  </a:cubicBezTo>
                  <a:cubicBezTo>
                    <a:pt x="4" y="2"/>
                    <a:pt x="2" y="3"/>
                    <a:pt x="1" y="4"/>
                  </a:cubicBezTo>
                  <a:cubicBezTo>
                    <a:pt x="0" y="2"/>
                    <a:pt x="0" y="2"/>
                    <a:pt x="0" y="2"/>
                  </a:cubicBezTo>
                  <a:cubicBezTo>
                    <a:pt x="2" y="1"/>
                    <a:pt x="4" y="0"/>
                    <a:pt x="6" y="0"/>
                  </a:cubicBezTo>
                  <a:cubicBezTo>
                    <a:pt x="11" y="0"/>
                    <a:pt x="13" y="3"/>
                    <a:pt x="13" y="5"/>
                  </a:cubicBezTo>
                  <a:cubicBezTo>
                    <a:pt x="13" y="8"/>
                    <a:pt x="11" y="10"/>
                    <a:pt x="9" y="11"/>
                  </a:cubicBezTo>
                  <a:cubicBezTo>
                    <a:pt x="9" y="11"/>
                    <a:pt x="9" y="11"/>
                    <a:pt x="9" y="11"/>
                  </a:cubicBezTo>
                  <a:cubicBezTo>
                    <a:pt x="11" y="11"/>
                    <a:pt x="14" y="13"/>
                    <a:pt x="14" y="17"/>
                  </a:cubicBezTo>
                  <a:cubicBezTo>
                    <a:pt x="14" y="20"/>
                    <a:pt x="11" y="23"/>
                    <a:pt x="6" y="23"/>
                  </a:cubicBezTo>
                  <a:cubicBezTo>
                    <a:pt x="3" y="23"/>
                    <a:pt x="1" y="23"/>
                    <a:pt x="0" y="22"/>
                  </a:cubicBezTo>
                  <a:lnTo>
                    <a:pt x="0" y="19"/>
                  </a:lnTo>
                  <a:close/>
                </a:path>
              </a:pathLst>
            </a:custGeom>
            <a:solidFill>
              <a:srgbClr val="5D82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 name="Freeform 67"/>
            <p:cNvSpPr/>
            <p:nvPr/>
          </p:nvSpPr>
          <p:spPr bwMode="auto">
            <a:xfrm>
              <a:off x="3641725" y="4197771"/>
              <a:ext cx="47625" cy="158750"/>
            </a:xfrm>
            <a:custGeom>
              <a:avLst/>
              <a:gdLst>
                <a:gd name="T0" fmla="*/ 17 w 30"/>
                <a:gd name="T1" fmla="*/ 13 h 100"/>
                <a:gd name="T2" fmla="*/ 17 w 30"/>
                <a:gd name="T3" fmla="*/ 13 h 100"/>
                <a:gd name="T4" fmla="*/ 0 w 30"/>
                <a:gd name="T5" fmla="*/ 22 h 100"/>
                <a:gd name="T6" fmla="*/ 0 w 30"/>
                <a:gd name="T7" fmla="*/ 13 h 100"/>
                <a:gd name="T8" fmla="*/ 21 w 30"/>
                <a:gd name="T9" fmla="*/ 0 h 100"/>
                <a:gd name="T10" fmla="*/ 30 w 30"/>
                <a:gd name="T11" fmla="*/ 0 h 100"/>
                <a:gd name="T12" fmla="*/ 30 w 30"/>
                <a:gd name="T13" fmla="*/ 100 h 100"/>
                <a:gd name="T14" fmla="*/ 17 w 30"/>
                <a:gd name="T15" fmla="*/ 100 h 100"/>
                <a:gd name="T16" fmla="*/ 17 w 30"/>
                <a:gd name="T17" fmla="*/ 1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00">
                  <a:moveTo>
                    <a:pt x="17" y="13"/>
                  </a:moveTo>
                  <a:lnTo>
                    <a:pt x="17" y="13"/>
                  </a:lnTo>
                  <a:lnTo>
                    <a:pt x="0" y="22"/>
                  </a:lnTo>
                  <a:lnTo>
                    <a:pt x="0" y="13"/>
                  </a:lnTo>
                  <a:lnTo>
                    <a:pt x="21" y="0"/>
                  </a:lnTo>
                  <a:lnTo>
                    <a:pt x="30" y="0"/>
                  </a:lnTo>
                  <a:lnTo>
                    <a:pt x="30" y="100"/>
                  </a:lnTo>
                  <a:lnTo>
                    <a:pt x="17" y="100"/>
                  </a:lnTo>
                  <a:lnTo>
                    <a:pt x="17" y="13"/>
                  </a:lnTo>
                  <a:close/>
                </a:path>
              </a:pathLst>
            </a:custGeom>
            <a:solidFill>
              <a:srgbClr val="5D82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 name="Freeform 68"/>
            <p:cNvSpPr>
              <a:spLocks noEditPoints="1"/>
            </p:cNvSpPr>
            <p:nvPr/>
          </p:nvSpPr>
          <p:spPr bwMode="auto">
            <a:xfrm>
              <a:off x="3743325" y="4197771"/>
              <a:ext cx="169862" cy="158750"/>
            </a:xfrm>
            <a:custGeom>
              <a:avLst/>
              <a:gdLst>
                <a:gd name="T0" fmla="*/ 11 w 25"/>
                <a:gd name="T1" fmla="*/ 7 h 23"/>
                <a:gd name="T2" fmla="*/ 5 w 25"/>
                <a:gd name="T3" fmla="*/ 14 h 23"/>
                <a:gd name="T4" fmla="*/ 0 w 25"/>
                <a:gd name="T5" fmla="*/ 7 h 23"/>
                <a:gd name="T6" fmla="*/ 5 w 25"/>
                <a:gd name="T7" fmla="*/ 0 h 23"/>
                <a:gd name="T8" fmla="*/ 11 w 25"/>
                <a:gd name="T9" fmla="*/ 7 h 23"/>
                <a:gd name="T10" fmla="*/ 2 w 25"/>
                <a:gd name="T11" fmla="*/ 7 h 23"/>
                <a:gd name="T12" fmla="*/ 5 w 25"/>
                <a:gd name="T13" fmla="*/ 12 h 23"/>
                <a:gd name="T14" fmla="*/ 8 w 25"/>
                <a:gd name="T15" fmla="*/ 7 h 23"/>
                <a:gd name="T16" fmla="*/ 5 w 25"/>
                <a:gd name="T17" fmla="*/ 2 h 23"/>
                <a:gd name="T18" fmla="*/ 2 w 25"/>
                <a:gd name="T19" fmla="*/ 7 h 23"/>
                <a:gd name="T20" fmla="*/ 5 w 25"/>
                <a:gd name="T21" fmla="*/ 23 h 23"/>
                <a:gd name="T22" fmla="*/ 18 w 25"/>
                <a:gd name="T23" fmla="*/ 0 h 23"/>
                <a:gd name="T24" fmla="*/ 20 w 25"/>
                <a:gd name="T25" fmla="*/ 0 h 23"/>
                <a:gd name="T26" fmla="*/ 7 w 25"/>
                <a:gd name="T27" fmla="*/ 23 h 23"/>
                <a:gd name="T28" fmla="*/ 5 w 25"/>
                <a:gd name="T29" fmla="*/ 23 h 23"/>
                <a:gd name="T30" fmla="*/ 25 w 25"/>
                <a:gd name="T31" fmla="*/ 16 h 23"/>
                <a:gd name="T32" fmla="*/ 20 w 25"/>
                <a:gd name="T33" fmla="*/ 23 h 23"/>
                <a:gd name="T34" fmla="*/ 15 w 25"/>
                <a:gd name="T35" fmla="*/ 16 h 23"/>
                <a:gd name="T36" fmla="*/ 20 w 25"/>
                <a:gd name="T37" fmla="*/ 9 h 23"/>
                <a:gd name="T38" fmla="*/ 25 w 25"/>
                <a:gd name="T39" fmla="*/ 16 h 23"/>
                <a:gd name="T40" fmla="*/ 17 w 25"/>
                <a:gd name="T41" fmla="*/ 16 h 23"/>
                <a:gd name="T42" fmla="*/ 20 w 25"/>
                <a:gd name="T43" fmla="*/ 21 h 23"/>
                <a:gd name="T44" fmla="*/ 23 w 25"/>
                <a:gd name="T45" fmla="*/ 16 h 23"/>
                <a:gd name="T46" fmla="*/ 20 w 25"/>
                <a:gd name="T47" fmla="*/ 11 h 23"/>
                <a:gd name="T48" fmla="*/ 17 w 25"/>
                <a:gd name="T49"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23">
                  <a:moveTo>
                    <a:pt x="11" y="7"/>
                  </a:moveTo>
                  <a:cubicBezTo>
                    <a:pt x="11" y="11"/>
                    <a:pt x="8" y="14"/>
                    <a:pt x="5" y="14"/>
                  </a:cubicBezTo>
                  <a:cubicBezTo>
                    <a:pt x="2" y="14"/>
                    <a:pt x="0" y="12"/>
                    <a:pt x="0" y="7"/>
                  </a:cubicBezTo>
                  <a:cubicBezTo>
                    <a:pt x="0" y="3"/>
                    <a:pt x="2" y="0"/>
                    <a:pt x="5" y="0"/>
                  </a:cubicBezTo>
                  <a:cubicBezTo>
                    <a:pt x="8" y="0"/>
                    <a:pt x="11" y="2"/>
                    <a:pt x="11" y="7"/>
                  </a:cubicBezTo>
                  <a:close/>
                  <a:moveTo>
                    <a:pt x="2" y="7"/>
                  </a:moveTo>
                  <a:cubicBezTo>
                    <a:pt x="2" y="10"/>
                    <a:pt x="3" y="12"/>
                    <a:pt x="5" y="12"/>
                  </a:cubicBezTo>
                  <a:cubicBezTo>
                    <a:pt x="7" y="12"/>
                    <a:pt x="8" y="10"/>
                    <a:pt x="8" y="7"/>
                  </a:cubicBezTo>
                  <a:cubicBezTo>
                    <a:pt x="8" y="4"/>
                    <a:pt x="7" y="2"/>
                    <a:pt x="5" y="2"/>
                  </a:cubicBezTo>
                  <a:cubicBezTo>
                    <a:pt x="3" y="2"/>
                    <a:pt x="2" y="4"/>
                    <a:pt x="2" y="7"/>
                  </a:cubicBezTo>
                  <a:close/>
                  <a:moveTo>
                    <a:pt x="5" y="23"/>
                  </a:moveTo>
                  <a:cubicBezTo>
                    <a:pt x="18" y="0"/>
                    <a:pt x="18" y="0"/>
                    <a:pt x="18" y="0"/>
                  </a:cubicBezTo>
                  <a:cubicBezTo>
                    <a:pt x="20" y="0"/>
                    <a:pt x="20" y="0"/>
                    <a:pt x="20" y="0"/>
                  </a:cubicBezTo>
                  <a:cubicBezTo>
                    <a:pt x="7" y="23"/>
                    <a:pt x="7" y="23"/>
                    <a:pt x="7" y="23"/>
                  </a:cubicBezTo>
                  <a:lnTo>
                    <a:pt x="5" y="23"/>
                  </a:lnTo>
                  <a:close/>
                  <a:moveTo>
                    <a:pt x="25" y="16"/>
                  </a:moveTo>
                  <a:cubicBezTo>
                    <a:pt x="25" y="21"/>
                    <a:pt x="23" y="23"/>
                    <a:pt x="20" y="23"/>
                  </a:cubicBezTo>
                  <a:cubicBezTo>
                    <a:pt x="17" y="23"/>
                    <a:pt x="15" y="21"/>
                    <a:pt x="15" y="16"/>
                  </a:cubicBezTo>
                  <a:cubicBezTo>
                    <a:pt x="15" y="12"/>
                    <a:pt x="17" y="9"/>
                    <a:pt x="20" y="9"/>
                  </a:cubicBezTo>
                  <a:cubicBezTo>
                    <a:pt x="23" y="9"/>
                    <a:pt x="25" y="12"/>
                    <a:pt x="25" y="16"/>
                  </a:cubicBezTo>
                  <a:close/>
                  <a:moveTo>
                    <a:pt x="17" y="16"/>
                  </a:moveTo>
                  <a:cubicBezTo>
                    <a:pt x="17" y="19"/>
                    <a:pt x="18" y="21"/>
                    <a:pt x="20" y="21"/>
                  </a:cubicBezTo>
                  <a:cubicBezTo>
                    <a:pt x="22" y="21"/>
                    <a:pt x="23" y="19"/>
                    <a:pt x="23" y="16"/>
                  </a:cubicBezTo>
                  <a:cubicBezTo>
                    <a:pt x="23" y="13"/>
                    <a:pt x="22" y="11"/>
                    <a:pt x="20" y="11"/>
                  </a:cubicBezTo>
                  <a:cubicBezTo>
                    <a:pt x="18" y="11"/>
                    <a:pt x="17" y="13"/>
                    <a:pt x="17" y="16"/>
                  </a:cubicBezTo>
                  <a:close/>
                </a:path>
              </a:pathLst>
            </a:custGeom>
            <a:solidFill>
              <a:srgbClr val="5D82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71" name="文本框 70"/>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sp>
        <p:nvSpPr>
          <p:cNvPr id="81" name="Freeform 72"/>
          <p:cNvSpPr>
            <a:spLocks noEditPoints="1"/>
          </p:cNvSpPr>
          <p:nvPr/>
        </p:nvSpPr>
        <p:spPr bwMode="auto">
          <a:xfrm>
            <a:off x="6656388" y="1382712"/>
            <a:ext cx="1728787" cy="4321176"/>
          </a:xfrm>
          <a:custGeom>
            <a:avLst/>
            <a:gdLst>
              <a:gd name="T0" fmla="*/ 518 w 579"/>
              <a:gd name="T1" fmla="*/ 109 h 1452"/>
              <a:gd name="T2" fmla="*/ 463 w 579"/>
              <a:gd name="T3" fmla="*/ 221 h 1452"/>
              <a:gd name="T4" fmla="*/ 576 w 579"/>
              <a:gd name="T5" fmla="*/ 382 h 1452"/>
              <a:gd name="T6" fmla="*/ 565 w 579"/>
              <a:gd name="T7" fmla="*/ 655 h 1452"/>
              <a:gd name="T8" fmla="*/ 514 w 579"/>
              <a:gd name="T9" fmla="*/ 773 h 1452"/>
              <a:gd name="T10" fmla="*/ 458 w 579"/>
              <a:gd name="T11" fmla="*/ 1025 h 1452"/>
              <a:gd name="T12" fmla="*/ 470 w 579"/>
              <a:gd name="T13" fmla="*/ 1219 h 1452"/>
              <a:gd name="T14" fmla="*/ 432 w 579"/>
              <a:gd name="T15" fmla="*/ 1374 h 1452"/>
              <a:gd name="T16" fmla="*/ 411 w 579"/>
              <a:gd name="T17" fmla="*/ 1450 h 1452"/>
              <a:gd name="T18" fmla="*/ 353 w 579"/>
              <a:gd name="T19" fmla="*/ 1366 h 1452"/>
              <a:gd name="T20" fmla="*/ 366 w 579"/>
              <a:gd name="T21" fmla="*/ 1103 h 1452"/>
              <a:gd name="T22" fmla="*/ 352 w 579"/>
              <a:gd name="T23" fmla="*/ 1030 h 1452"/>
              <a:gd name="T24" fmla="*/ 349 w 579"/>
              <a:gd name="T25" fmla="*/ 1267 h 1452"/>
              <a:gd name="T26" fmla="*/ 339 w 579"/>
              <a:gd name="T27" fmla="*/ 1375 h 1452"/>
              <a:gd name="T28" fmla="*/ 270 w 579"/>
              <a:gd name="T29" fmla="*/ 1332 h 1452"/>
              <a:gd name="T30" fmla="*/ 278 w 579"/>
              <a:gd name="T31" fmla="*/ 1240 h 1452"/>
              <a:gd name="T32" fmla="*/ 251 w 579"/>
              <a:gd name="T33" fmla="*/ 1072 h 1452"/>
              <a:gd name="T34" fmla="*/ 231 w 579"/>
              <a:gd name="T35" fmla="*/ 802 h 1452"/>
              <a:gd name="T36" fmla="*/ 169 w 579"/>
              <a:gd name="T37" fmla="*/ 567 h 1452"/>
              <a:gd name="T38" fmla="*/ 222 w 579"/>
              <a:gd name="T39" fmla="*/ 363 h 1452"/>
              <a:gd name="T40" fmla="*/ 63 w 579"/>
              <a:gd name="T41" fmla="*/ 344 h 1452"/>
              <a:gd name="T42" fmla="*/ 29 w 579"/>
              <a:gd name="T43" fmla="*/ 208 h 1452"/>
              <a:gd name="T44" fmla="*/ 18 w 579"/>
              <a:gd name="T45" fmla="*/ 84 h 1452"/>
              <a:gd name="T46" fmla="*/ 9 w 579"/>
              <a:gd name="T47" fmla="*/ 6 h 1452"/>
              <a:gd name="T48" fmla="*/ 92 w 579"/>
              <a:gd name="T49" fmla="*/ 96 h 1452"/>
              <a:gd name="T50" fmla="*/ 108 w 579"/>
              <a:gd name="T51" fmla="*/ 180 h 1452"/>
              <a:gd name="T52" fmla="*/ 175 w 579"/>
              <a:gd name="T53" fmla="*/ 267 h 1452"/>
              <a:gd name="T54" fmla="*/ 251 w 579"/>
              <a:gd name="T55" fmla="*/ 213 h 1452"/>
              <a:gd name="T56" fmla="*/ 365 w 579"/>
              <a:gd name="T57" fmla="*/ 200 h 1452"/>
              <a:gd name="T58" fmla="*/ 358 w 579"/>
              <a:gd name="T59" fmla="*/ 155 h 1452"/>
              <a:gd name="T60" fmla="*/ 390 w 579"/>
              <a:gd name="T61" fmla="*/ 56 h 1452"/>
              <a:gd name="T62" fmla="*/ 463 w 579"/>
              <a:gd name="T63" fmla="*/ 251 h 1452"/>
              <a:gd name="T64" fmla="*/ 387 w 579"/>
              <a:gd name="T65" fmla="*/ 389 h 1452"/>
              <a:gd name="T66" fmla="*/ 346 w 579"/>
              <a:gd name="T67" fmla="*/ 643 h 1452"/>
              <a:gd name="T68" fmla="*/ 390 w 579"/>
              <a:gd name="T69" fmla="*/ 436 h 1452"/>
              <a:gd name="T70" fmla="*/ 453 w 579"/>
              <a:gd name="T71" fmla="*/ 294 h 1452"/>
              <a:gd name="T72" fmla="*/ 391 w 579"/>
              <a:gd name="T73" fmla="*/ 275 h 1452"/>
              <a:gd name="T74" fmla="*/ 358 w 579"/>
              <a:gd name="T75" fmla="*/ 292 h 1452"/>
              <a:gd name="T76" fmla="*/ 319 w 579"/>
              <a:gd name="T77" fmla="*/ 313 h 1452"/>
              <a:gd name="T78" fmla="*/ 350 w 579"/>
              <a:gd name="T79" fmla="*/ 411 h 1452"/>
              <a:gd name="T80" fmla="*/ 315 w 579"/>
              <a:gd name="T81" fmla="*/ 230 h 1452"/>
              <a:gd name="T82" fmla="*/ 455 w 579"/>
              <a:gd name="T83" fmla="*/ 490 h 1452"/>
              <a:gd name="T84" fmla="*/ 491 w 579"/>
              <a:gd name="T85" fmla="*/ 309 h 1452"/>
              <a:gd name="T86" fmla="*/ 471 w 579"/>
              <a:gd name="T87" fmla="*/ 304 h 1452"/>
              <a:gd name="T88" fmla="*/ 228 w 579"/>
              <a:gd name="T89" fmla="*/ 713 h 1452"/>
              <a:gd name="T90" fmla="*/ 357 w 579"/>
              <a:gd name="T91" fmla="*/ 660 h 1452"/>
              <a:gd name="T92" fmla="*/ 337 w 579"/>
              <a:gd name="T93" fmla="*/ 651 h 1452"/>
              <a:gd name="T94" fmla="*/ 325 w 579"/>
              <a:gd name="T95" fmla="*/ 542 h 1452"/>
              <a:gd name="T96" fmla="*/ 468 w 579"/>
              <a:gd name="T97" fmla="*/ 742 h 1452"/>
              <a:gd name="T98" fmla="*/ 443 w 579"/>
              <a:gd name="T99" fmla="*/ 656 h 1452"/>
              <a:gd name="T100" fmla="*/ 535 w 579"/>
              <a:gd name="T101" fmla="*/ 410 h 1452"/>
              <a:gd name="T102" fmla="*/ 514 w 579"/>
              <a:gd name="T103" fmla="*/ 656 h 1452"/>
              <a:gd name="T104" fmla="*/ 534 w 579"/>
              <a:gd name="T105" fmla="*/ 415 h 1452"/>
              <a:gd name="T106" fmla="*/ 336 w 579"/>
              <a:gd name="T107" fmla="*/ 826 h 1452"/>
              <a:gd name="T108" fmla="*/ 387 w 579"/>
              <a:gd name="T109" fmla="*/ 801 h 1452"/>
              <a:gd name="T110" fmla="*/ 340 w 579"/>
              <a:gd name="T111" fmla="*/ 802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9" h="1452">
                <a:moveTo>
                  <a:pt x="433" y="41"/>
                </a:moveTo>
                <a:cubicBezTo>
                  <a:pt x="487" y="60"/>
                  <a:pt x="487" y="60"/>
                  <a:pt x="487" y="60"/>
                </a:cubicBezTo>
                <a:cubicBezTo>
                  <a:pt x="514" y="84"/>
                  <a:pt x="514" y="84"/>
                  <a:pt x="514" y="84"/>
                </a:cubicBezTo>
                <a:cubicBezTo>
                  <a:pt x="518" y="109"/>
                  <a:pt x="518" y="109"/>
                  <a:pt x="518" y="109"/>
                </a:cubicBezTo>
                <a:cubicBezTo>
                  <a:pt x="525" y="145"/>
                  <a:pt x="525" y="145"/>
                  <a:pt x="525" y="145"/>
                </a:cubicBezTo>
                <a:cubicBezTo>
                  <a:pt x="513" y="172"/>
                  <a:pt x="513" y="172"/>
                  <a:pt x="513" y="172"/>
                </a:cubicBezTo>
                <a:cubicBezTo>
                  <a:pt x="513" y="172"/>
                  <a:pt x="497" y="196"/>
                  <a:pt x="491" y="199"/>
                </a:cubicBezTo>
                <a:cubicBezTo>
                  <a:pt x="484" y="201"/>
                  <a:pt x="463" y="221"/>
                  <a:pt x="463" y="221"/>
                </a:cubicBezTo>
                <a:cubicBezTo>
                  <a:pt x="463" y="221"/>
                  <a:pt x="457" y="224"/>
                  <a:pt x="461" y="229"/>
                </a:cubicBezTo>
                <a:cubicBezTo>
                  <a:pt x="464" y="234"/>
                  <a:pt x="475" y="243"/>
                  <a:pt x="475" y="243"/>
                </a:cubicBezTo>
                <a:cubicBezTo>
                  <a:pt x="567" y="298"/>
                  <a:pt x="567" y="298"/>
                  <a:pt x="567" y="298"/>
                </a:cubicBezTo>
                <a:cubicBezTo>
                  <a:pt x="576" y="382"/>
                  <a:pt x="576" y="382"/>
                  <a:pt x="576" y="382"/>
                </a:cubicBezTo>
                <a:cubicBezTo>
                  <a:pt x="576" y="382"/>
                  <a:pt x="576" y="510"/>
                  <a:pt x="572" y="512"/>
                </a:cubicBezTo>
                <a:cubicBezTo>
                  <a:pt x="568" y="515"/>
                  <a:pt x="579" y="546"/>
                  <a:pt x="579" y="546"/>
                </a:cubicBezTo>
                <a:cubicBezTo>
                  <a:pt x="575" y="579"/>
                  <a:pt x="575" y="579"/>
                  <a:pt x="575" y="579"/>
                </a:cubicBezTo>
                <a:cubicBezTo>
                  <a:pt x="565" y="655"/>
                  <a:pt x="565" y="655"/>
                  <a:pt x="565" y="655"/>
                </a:cubicBezTo>
                <a:cubicBezTo>
                  <a:pt x="560" y="693"/>
                  <a:pt x="560" y="693"/>
                  <a:pt x="560" y="693"/>
                </a:cubicBezTo>
                <a:cubicBezTo>
                  <a:pt x="543" y="765"/>
                  <a:pt x="543" y="765"/>
                  <a:pt x="543" y="765"/>
                </a:cubicBezTo>
                <a:cubicBezTo>
                  <a:pt x="530" y="772"/>
                  <a:pt x="530" y="772"/>
                  <a:pt x="530" y="772"/>
                </a:cubicBezTo>
                <a:cubicBezTo>
                  <a:pt x="514" y="773"/>
                  <a:pt x="514" y="773"/>
                  <a:pt x="514" y="773"/>
                </a:cubicBezTo>
                <a:cubicBezTo>
                  <a:pt x="491" y="890"/>
                  <a:pt x="491" y="890"/>
                  <a:pt x="491" y="890"/>
                </a:cubicBezTo>
                <a:cubicBezTo>
                  <a:pt x="476" y="974"/>
                  <a:pt x="476" y="974"/>
                  <a:pt x="476" y="974"/>
                </a:cubicBezTo>
                <a:cubicBezTo>
                  <a:pt x="463" y="999"/>
                  <a:pt x="463" y="999"/>
                  <a:pt x="463" y="999"/>
                </a:cubicBezTo>
                <a:cubicBezTo>
                  <a:pt x="458" y="1025"/>
                  <a:pt x="458" y="1025"/>
                  <a:pt x="458" y="1025"/>
                </a:cubicBezTo>
                <a:cubicBezTo>
                  <a:pt x="468" y="1068"/>
                  <a:pt x="468" y="1068"/>
                  <a:pt x="468" y="1068"/>
                </a:cubicBezTo>
                <a:cubicBezTo>
                  <a:pt x="463" y="1085"/>
                  <a:pt x="463" y="1085"/>
                  <a:pt x="463" y="1085"/>
                </a:cubicBezTo>
                <a:cubicBezTo>
                  <a:pt x="470" y="1113"/>
                  <a:pt x="470" y="1113"/>
                  <a:pt x="470" y="1113"/>
                </a:cubicBezTo>
                <a:cubicBezTo>
                  <a:pt x="470" y="1219"/>
                  <a:pt x="470" y="1219"/>
                  <a:pt x="470" y="1219"/>
                </a:cubicBezTo>
                <a:cubicBezTo>
                  <a:pt x="467" y="1297"/>
                  <a:pt x="467" y="1297"/>
                  <a:pt x="467" y="1297"/>
                </a:cubicBezTo>
                <a:cubicBezTo>
                  <a:pt x="451" y="1316"/>
                  <a:pt x="451" y="1316"/>
                  <a:pt x="451" y="1316"/>
                </a:cubicBezTo>
                <a:cubicBezTo>
                  <a:pt x="443" y="1348"/>
                  <a:pt x="443" y="1348"/>
                  <a:pt x="443" y="1348"/>
                </a:cubicBezTo>
                <a:cubicBezTo>
                  <a:pt x="432" y="1374"/>
                  <a:pt x="432" y="1374"/>
                  <a:pt x="432" y="1374"/>
                </a:cubicBezTo>
                <a:cubicBezTo>
                  <a:pt x="442" y="1413"/>
                  <a:pt x="442" y="1413"/>
                  <a:pt x="442" y="1413"/>
                </a:cubicBezTo>
                <a:cubicBezTo>
                  <a:pt x="454" y="1440"/>
                  <a:pt x="454" y="1440"/>
                  <a:pt x="454" y="1440"/>
                </a:cubicBezTo>
                <a:cubicBezTo>
                  <a:pt x="438" y="1450"/>
                  <a:pt x="438" y="1450"/>
                  <a:pt x="438" y="1450"/>
                </a:cubicBezTo>
                <a:cubicBezTo>
                  <a:pt x="411" y="1450"/>
                  <a:pt x="411" y="1450"/>
                  <a:pt x="411" y="1450"/>
                </a:cubicBezTo>
                <a:cubicBezTo>
                  <a:pt x="411" y="1450"/>
                  <a:pt x="390" y="1452"/>
                  <a:pt x="386" y="1448"/>
                </a:cubicBezTo>
                <a:cubicBezTo>
                  <a:pt x="382" y="1444"/>
                  <a:pt x="371" y="1437"/>
                  <a:pt x="371" y="1437"/>
                </a:cubicBezTo>
                <a:cubicBezTo>
                  <a:pt x="365" y="1400"/>
                  <a:pt x="365" y="1400"/>
                  <a:pt x="365" y="1400"/>
                </a:cubicBezTo>
                <a:cubicBezTo>
                  <a:pt x="365" y="1400"/>
                  <a:pt x="356" y="1370"/>
                  <a:pt x="353" y="1366"/>
                </a:cubicBezTo>
                <a:cubicBezTo>
                  <a:pt x="350" y="1362"/>
                  <a:pt x="352" y="1335"/>
                  <a:pt x="352" y="1335"/>
                </a:cubicBezTo>
                <a:cubicBezTo>
                  <a:pt x="371" y="1277"/>
                  <a:pt x="371" y="1277"/>
                  <a:pt x="371" y="1277"/>
                </a:cubicBezTo>
                <a:cubicBezTo>
                  <a:pt x="371" y="1227"/>
                  <a:pt x="371" y="1227"/>
                  <a:pt x="371" y="1227"/>
                </a:cubicBezTo>
                <a:cubicBezTo>
                  <a:pt x="366" y="1103"/>
                  <a:pt x="366" y="1103"/>
                  <a:pt x="366" y="1103"/>
                </a:cubicBezTo>
                <a:cubicBezTo>
                  <a:pt x="374" y="1076"/>
                  <a:pt x="374" y="1076"/>
                  <a:pt x="374" y="1076"/>
                </a:cubicBezTo>
                <a:cubicBezTo>
                  <a:pt x="358" y="999"/>
                  <a:pt x="358" y="999"/>
                  <a:pt x="358" y="999"/>
                </a:cubicBezTo>
                <a:cubicBezTo>
                  <a:pt x="356" y="962"/>
                  <a:pt x="356" y="962"/>
                  <a:pt x="356" y="962"/>
                </a:cubicBezTo>
                <a:cubicBezTo>
                  <a:pt x="352" y="1030"/>
                  <a:pt x="352" y="1030"/>
                  <a:pt x="352" y="1030"/>
                </a:cubicBezTo>
                <a:cubicBezTo>
                  <a:pt x="349" y="1089"/>
                  <a:pt x="349" y="1089"/>
                  <a:pt x="349" y="1089"/>
                </a:cubicBezTo>
                <a:cubicBezTo>
                  <a:pt x="348" y="1117"/>
                  <a:pt x="348" y="1117"/>
                  <a:pt x="348" y="1117"/>
                </a:cubicBezTo>
                <a:cubicBezTo>
                  <a:pt x="352" y="1167"/>
                  <a:pt x="352" y="1167"/>
                  <a:pt x="352" y="1167"/>
                </a:cubicBezTo>
                <a:cubicBezTo>
                  <a:pt x="349" y="1267"/>
                  <a:pt x="349" y="1267"/>
                  <a:pt x="349" y="1267"/>
                </a:cubicBezTo>
                <a:cubicBezTo>
                  <a:pt x="336" y="1307"/>
                  <a:pt x="336" y="1307"/>
                  <a:pt x="336" y="1307"/>
                </a:cubicBezTo>
                <a:cubicBezTo>
                  <a:pt x="331" y="1341"/>
                  <a:pt x="331" y="1341"/>
                  <a:pt x="331" y="1341"/>
                </a:cubicBezTo>
                <a:cubicBezTo>
                  <a:pt x="335" y="1360"/>
                  <a:pt x="335" y="1360"/>
                  <a:pt x="335" y="1360"/>
                </a:cubicBezTo>
                <a:cubicBezTo>
                  <a:pt x="339" y="1375"/>
                  <a:pt x="339" y="1375"/>
                  <a:pt x="339" y="1375"/>
                </a:cubicBezTo>
                <a:cubicBezTo>
                  <a:pt x="307" y="1378"/>
                  <a:pt x="307" y="1378"/>
                  <a:pt x="307" y="1378"/>
                </a:cubicBezTo>
                <a:cubicBezTo>
                  <a:pt x="307" y="1378"/>
                  <a:pt x="279" y="1378"/>
                  <a:pt x="273" y="1373"/>
                </a:cubicBezTo>
                <a:cubicBezTo>
                  <a:pt x="266" y="1368"/>
                  <a:pt x="256" y="1368"/>
                  <a:pt x="257" y="1362"/>
                </a:cubicBezTo>
                <a:cubicBezTo>
                  <a:pt x="258" y="1357"/>
                  <a:pt x="270" y="1332"/>
                  <a:pt x="270" y="1332"/>
                </a:cubicBezTo>
                <a:cubicBezTo>
                  <a:pt x="270" y="1332"/>
                  <a:pt x="276" y="1320"/>
                  <a:pt x="277" y="1312"/>
                </a:cubicBezTo>
                <a:cubicBezTo>
                  <a:pt x="278" y="1305"/>
                  <a:pt x="278" y="1299"/>
                  <a:pt x="272" y="1289"/>
                </a:cubicBezTo>
                <a:cubicBezTo>
                  <a:pt x="265" y="1278"/>
                  <a:pt x="261" y="1274"/>
                  <a:pt x="257" y="1261"/>
                </a:cubicBezTo>
                <a:cubicBezTo>
                  <a:pt x="253" y="1248"/>
                  <a:pt x="278" y="1240"/>
                  <a:pt x="278" y="1240"/>
                </a:cubicBezTo>
                <a:cubicBezTo>
                  <a:pt x="278" y="1240"/>
                  <a:pt x="274" y="1232"/>
                  <a:pt x="268" y="1222"/>
                </a:cubicBezTo>
                <a:cubicBezTo>
                  <a:pt x="261" y="1211"/>
                  <a:pt x="249" y="1201"/>
                  <a:pt x="249" y="1187"/>
                </a:cubicBezTo>
                <a:cubicBezTo>
                  <a:pt x="249" y="1172"/>
                  <a:pt x="251" y="1147"/>
                  <a:pt x="251" y="1139"/>
                </a:cubicBezTo>
                <a:cubicBezTo>
                  <a:pt x="251" y="1131"/>
                  <a:pt x="251" y="1092"/>
                  <a:pt x="251" y="1072"/>
                </a:cubicBezTo>
                <a:cubicBezTo>
                  <a:pt x="251" y="1053"/>
                  <a:pt x="252" y="1008"/>
                  <a:pt x="252" y="1008"/>
                </a:cubicBezTo>
                <a:cubicBezTo>
                  <a:pt x="252" y="1008"/>
                  <a:pt x="261" y="981"/>
                  <a:pt x="260" y="965"/>
                </a:cubicBezTo>
                <a:cubicBezTo>
                  <a:pt x="258" y="949"/>
                  <a:pt x="252" y="924"/>
                  <a:pt x="252" y="924"/>
                </a:cubicBezTo>
                <a:cubicBezTo>
                  <a:pt x="231" y="802"/>
                  <a:pt x="231" y="802"/>
                  <a:pt x="231" y="802"/>
                </a:cubicBezTo>
                <a:cubicBezTo>
                  <a:pt x="223" y="751"/>
                  <a:pt x="223" y="751"/>
                  <a:pt x="223" y="751"/>
                </a:cubicBezTo>
                <a:cubicBezTo>
                  <a:pt x="223" y="751"/>
                  <a:pt x="193" y="768"/>
                  <a:pt x="168" y="755"/>
                </a:cubicBezTo>
                <a:cubicBezTo>
                  <a:pt x="143" y="742"/>
                  <a:pt x="105" y="709"/>
                  <a:pt x="105" y="709"/>
                </a:cubicBezTo>
                <a:cubicBezTo>
                  <a:pt x="169" y="567"/>
                  <a:pt x="169" y="567"/>
                  <a:pt x="169" y="567"/>
                </a:cubicBezTo>
                <a:cubicBezTo>
                  <a:pt x="197" y="490"/>
                  <a:pt x="197" y="490"/>
                  <a:pt x="197" y="490"/>
                </a:cubicBezTo>
                <a:cubicBezTo>
                  <a:pt x="210" y="445"/>
                  <a:pt x="210" y="445"/>
                  <a:pt x="210" y="445"/>
                </a:cubicBezTo>
                <a:cubicBezTo>
                  <a:pt x="210" y="445"/>
                  <a:pt x="226" y="389"/>
                  <a:pt x="224" y="384"/>
                </a:cubicBezTo>
                <a:cubicBezTo>
                  <a:pt x="223" y="378"/>
                  <a:pt x="222" y="363"/>
                  <a:pt x="222" y="363"/>
                </a:cubicBezTo>
                <a:cubicBezTo>
                  <a:pt x="156" y="352"/>
                  <a:pt x="156" y="352"/>
                  <a:pt x="156" y="352"/>
                </a:cubicBezTo>
                <a:cubicBezTo>
                  <a:pt x="119" y="355"/>
                  <a:pt x="119" y="355"/>
                  <a:pt x="119" y="355"/>
                </a:cubicBezTo>
                <a:cubicBezTo>
                  <a:pt x="85" y="361"/>
                  <a:pt x="85" y="361"/>
                  <a:pt x="85" y="361"/>
                </a:cubicBezTo>
                <a:cubicBezTo>
                  <a:pt x="63" y="344"/>
                  <a:pt x="63" y="344"/>
                  <a:pt x="63" y="344"/>
                </a:cubicBezTo>
                <a:cubicBezTo>
                  <a:pt x="43" y="319"/>
                  <a:pt x="43" y="319"/>
                  <a:pt x="43" y="319"/>
                </a:cubicBezTo>
                <a:cubicBezTo>
                  <a:pt x="43" y="319"/>
                  <a:pt x="43" y="301"/>
                  <a:pt x="43" y="296"/>
                </a:cubicBezTo>
                <a:cubicBezTo>
                  <a:pt x="43" y="290"/>
                  <a:pt x="41" y="260"/>
                  <a:pt x="41" y="260"/>
                </a:cubicBezTo>
                <a:cubicBezTo>
                  <a:pt x="29" y="208"/>
                  <a:pt x="29" y="208"/>
                  <a:pt x="29" y="208"/>
                </a:cubicBezTo>
                <a:cubicBezTo>
                  <a:pt x="17" y="163"/>
                  <a:pt x="17" y="163"/>
                  <a:pt x="17" y="163"/>
                </a:cubicBezTo>
                <a:cubicBezTo>
                  <a:pt x="41" y="134"/>
                  <a:pt x="41" y="134"/>
                  <a:pt x="41" y="134"/>
                </a:cubicBezTo>
                <a:cubicBezTo>
                  <a:pt x="18" y="98"/>
                  <a:pt x="18" y="98"/>
                  <a:pt x="18" y="98"/>
                </a:cubicBezTo>
                <a:cubicBezTo>
                  <a:pt x="18" y="98"/>
                  <a:pt x="16" y="92"/>
                  <a:pt x="18" y="84"/>
                </a:cubicBezTo>
                <a:cubicBezTo>
                  <a:pt x="21" y="77"/>
                  <a:pt x="34" y="63"/>
                  <a:pt x="34" y="63"/>
                </a:cubicBezTo>
                <a:cubicBezTo>
                  <a:pt x="39" y="56"/>
                  <a:pt x="39" y="56"/>
                  <a:pt x="39" y="56"/>
                </a:cubicBezTo>
                <a:cubicBezTo>
                  <a:pt x="0" y="15"/>
                  <a:pt x="0" y="15"/>
                  <a:pt x="0" y="15"/>
                </a:cubicBezTo>
                <a:cubicBezTo>
                  <a:pt x="0" y="15"/>
                  <a:pt x="0" y="0"/>
                  <a:pt x="9" y="6"/>
                </a:cubicBezTo>
                <a:cubicBezTo>
                  <a:pt x="18" y="11"/>
                  <a:pt x="68" y="58"/>
                  <a:pt x="68" y="58"/>
                </a:cubicBezTo>
                <a:cubicBezTo>
                  <a:pt x="88" y="57"/>
                  <a:pt x="88" y="57"/>
                  <a:pt x="88" y="57"/>
                </a:cubicBezTo>
                <a:cubicBezTo>
                  <a:pt x="95" y="69"/>
                  <a:pt x="95" y="69"/>
                  <a:pt x="95" y="69"/>
                </a:cubicBezTo>
                <a:cubicBezTo>
                  <a:pt x="92" y="96"/>
                  <a:pt x="92" y="96"/>
                  <a:pt x="92" y="96"/>
                </a:cubicBezTo>
                <a:cubicBezTo>
                  <a:pt x="87" y="108"/>
                  <a:pt x="87" y="108"/>
                  <a:pt x="87" y="108"/>
                </a:cubicBezTo>
                <a:cubicBezTo>
                  <a:pt x="89" y="128"/>
                  <a:pt x="89" y="128"/>
                  <a:pt x="89" y="128"/>
                </a:cubicBezTo>
                <a:cubicBezTo>
                  <a:pt x="97" y="147"/>
                  <a:pt x="97" y="147"/>
                  <a:pt x="97" y="147"/>
                </a:cubicBezTo>
                <a:cubicBezTo>
                  <a:pt x="108" y="180"/>
                  <a:pt x="108" y="180"/>
                  <a:pt x="108" y="180"/>
                </a:cubicBezTo>
                <a:cubicBezTo>
                  <a:pt x="105" y="218"/>
                  <a:pt x="105" y="218"/>
                  <a:pt x="105" y="218"/>
                </a:cubicBezTo>
                <a:cubicBezTo>
                  <a:pt x="109" y="255"/>
                  <a:pt x="109" y="255"/>
                  <a:pt x="109" y="255"/>
                </a:cubicBezTo>
                <a:cubicBezTo>
                  <a:pt x="109" y="255"/>
                  <a:pt x="117" y="277"/>
                  <a:pt x="127" y="273"/>
                </a:cubicBezTo>
                <a:cubicBezTo>
                  <a:pt x="138" y="269"/>
                  <a:pt x="175" y="267"/>
                  <a:pt x="175" y="267"/>
                </a:cubicBezTo>
                <a:cubicBezTo>
                  <a:pt x="203" y="254"/>
                  <a:pt x="203" y="254"/>
                  <a:pt x="203" y="254"/>
                </a:cubicBezTo>
                <a:cubicBezTo>
                  <a:pt x="224" y="242"/>
                  <a:pt x="224" y="242"/>
                  <a:pt x="224" y="242"/>
                </a:cubicBezTo>
                <a:cubicBezTo>
                  <a:pt x="236" y="218"/>
                  <a:pt x="236" y="218"/>
                  <a:pt x="236" y="218"/>
                </a:cubicBezTo>
                <a:cubicBezTo>
                  <a:pt x="251" y="213"/>
                  <a:pt x="251" y="213"/>
                  <a:pt x="251" y="213"/>
                </a:cubicBezTo>
                <a:cubicBezTo>
                  <a:pt x="311" y="214"/>
                  <a:pt x="311" y="214"/>
                  <a:pt x="311" y="214"/>
                </a:cubicBezTo>
                <a:cubicBezTo>
                  <a:pt x="311" y="214"/>
                  <a:pt x="321" y="218"/>
                  <a:pt x="327" y="218"/>
                </a:cubicBezTo>
                <a:cubicBezTo>
                  <a:pt x="332" y="218"/>
                  <a:pt x="345" y="217"/>
                  <a:pt x="345" y="217"/>
                </a:cubicBezTo>
                <a:cubicBezTo>
                  <a:pt x="365" y="200"/>
                  <a:pt x="365" y="200"/>
                  <a:pt x="365" y="200"/>
                </a:cubicBezTo>
                <a:cubicBezTo>
                  <a:pt x="374" y="195"/>
                  <a:pt x="374" y="195"/>
                  <a:pt x="374" y="195"/>
                </a:cubicBezTo>
                <a:cubicBezTo>
                  <a:pt x="377" y="185"/>
                  <a:pt x="377" y="185"/>
                  <a:pt x="377" y="185"/>
                </a:cubicBezTo>
                <a:cubicBezTo>
                  <a:pt x="363" y="174"/>
                  <a:pt x="363" y="174"/>
                  <a:pt x="363" y="174"/>
                </a:cubicBezTo>
                <a:cubicBezTo>
                  <a:pt x="358" y="155"/>
                  <a:pt x="358" y="155"/>
                  <a:pt x="358" y="155"/>
                </a:cubicBezTo>
                <a:cubicBezTo>
                  <a:pt x="363" y="132"/>
                  <a:pt x="363" y="132"/>
                  <a:pt x="363" y="132"/>
                </a:cubicBezTo>
                <a:cubicBezTo>
                  <a:pt x="371" y="100"/>
                  <a:pt x="371" y="100"/>
                  <a:pt x="371" y="100"/>
                </a:cubicBezTo>
                <a:cubicBezTo>
                  <a:pt x="375" y="78"/>
                  <a:pt x="375" y="78"/>
                  <a:pt x="375" y="78"/>
                </a:cubicBezTo>
                <a:cubicBezTo>
                  <a:pt x="390" y="56"/>
                  <a:pt x="390" y="56"/>
                  <a:pt x="390" y="56"/>
                </a:cubicBezTo>
                <a:cubicBezTo>
                  <a:pt x="390" y="32"/>
                  <a:pt x="390" y="32"/>
                  <a:pt x="390" y="32"/>
                </a:cubicBezTo>
                <a:cubicBezTo>
                  <a:pt x="411" y="27"/>
                  <a:pt x="411" y="27"/>
                  <a:pt x="411" y="27"/>
                </a:cubicBezTo>
                <a:lnTo>
                  <a:pt x="433" y="41"/>
                </a:lnTo>
                <a:close/>
                <a:moveTo>
                  <a:pt x="463" y="251"/>
                </a:moveTo>
                <a:cubicBezTo>
                  <a:pt x="447" y="280"/>
                  <a:pt x="447" y="280"/>
                  <a:pt x="447" y="280"/>
                </a:cubicBezTo>
                <a:cubicBezTo>
                  <a:pt x="426" y="314"/>
                  <a:pt x="426" y="314"/>
                  <a:pt x="426" y="314"/>
                </a:cubicBezTo>
                <a:cubicBezTo>
                  <a:pt x="411" y="318"/>
                  <a:pt x="411" y="318"/>
                  <a:pt x="411" y="318"/>
                </a:cubicBezTo>
                <a:cubicBezTo>
                  <a:pt x="387" y="389"/>
                  <a:pt x="387" y="389"/>
                  <a:pt x="387" y="389"/>
                </a:cubicBezTo>
                <a:cubicBezTo>
                  <a:pt x="366" y="513"/>
                  <a:pt x="366" y="513"/>
                  <a:pt x="366" y="513"/>
                </a:cubicBezTo>
                <a:cubicBezTo>
                  <a:pt x="352" y="595"/>
                  <a:pt x="352" y="595"/>
                  <a:pt x="352" y="595"/>
                </a:cubicBezTo>
                <a:cubicBezTo>
                  <a:pt x="348" y="625"/>
                  <a:pt x="348" y="625"/>
                  <a:pt x="348" y="625"/>
                </a:cubicBezTo>
                <a:cubicBezTo>
                  <a:pt x="346" y="643"/>
                  <a:pt x="346" y="643"/>
                  <a:pt x="346" y="643"/>
                </a:cubicBezTo>
                <a:cubicBezTo>
                  <a:pt x="358" y="630"/>
                  <a:pt x="358" y="630"/>
                  <a:pt x="358" y="630"/>
                </a:cubicBezTo>
                <a:cubicBezTo>
                  <a:pt x="366" y="554"/>
                  <a:pt x="366" y="554"/>
                  <a:pt x="366" y="554"/>
                </a:cubicBezTo>
                <a:cubicBezTo>
                  <a:pt x="377" y="507"/>
                  <a:pt x="377" y="507"/>
                  <a:pt x="377" y="507"/>
                </a:cubicBezTo>
                <a:cubicBezTo>
                  <a:pt x="390" y="436"/>
                  <a:pt x="390" y="436"/>
                  <a:pt x="390" y="436"/>
                </a:cubicBezTo>
                <a:cubicBezTo>
                  <a:pt x="400" y="376"/>
                  <a:pt x="400" y="376"/>
                  <a:pt x="400" y="376"/>
                </a:cubicBezTo>
                <a:cubicBezTo>
                  <a:pt x="416" y="335"/>
                  <a:pt x="416" y="335"/>
                  <a:pt x="416" y="335"/>
                </a:cubicBezTo>
                <a:cubicBezTo>
                  <a:pt x="442" y="319"/>
                  <a:pt x="442" y="319"/>
                  <a:pt x="442" y="319"/>
                </a:cubicBezTo>
                <a:cubicBezTo>
                  <a:pt x="453" y="294"/>
                  <a:pt x="453" y="294"/>
                  <a:pt x="453" y="294"/>
                </a:cubicBezTo>
                <a:cubicBezTo>
                  <a:pt x="478" y="293"/>
                  <a:pt x="478" y="293"/>
                  <a:pt x="478" y="293"/>
                </a:cubicBezTo>
                <a:lnTo>
                  <a:pt x="463" y="251"/>
                </a:lnTo>
                <a:close/>
                <a:moveTo>
                  <a:pt x="358" y="292"/>
                </a:moveTo>
                <a:cubicBezTo>
                  <a:pt x="391" y="275"/>
                  <a:pt x="391" y="275"/>
                  <a:pt x="391" y="275"/>
                </a:cubicBezTo>
                <a:cubicBezTo>
                  <a:pt x="404" y="304"/>
                  <a:pt x="404" y="304"/>
                  <a:pt x="404" y="304"/>
                </a:cubicBezTo>
                <a:cubicBezTo>
                  <a:pt x="402" y="273"/>
                  <a:pt x="402" y="273"/>
                  <a:pt x="402" y="273"/>
                </a:cubicBezTo>
                <a:cubicBezTo>
                  <a:pt x="402" y="273"/>
                  <a:pt x="378" y="221"/>
                  <a:pt x="375" y="213"/>
                </a:cubicBezTo>
                <a:lnTo>
                  <a:pt x="358" y="292"/>
                </a:lnTo>
                <a:close/>
                <a:moveTo>
                  <a:pt x="315" y="230"/>
                </a:moveTo>
                <a:cubicBezTo>
                  <a:pt x="335" y="251"/>
                  <a:pt x="335" y="251"/>
                  <a:pt x="335" y="251"/>
                </a:cubicBezTo>
                <a:cubicBezTo>
                  <a:pt x="306" y="262"/>
                  <a:pt x="306" y="262"/>
                  <a:pt x="306" y="262"/>
                </a:cubicBezTo>
                <a:cubicBezTo>
                  <a:pt x="319" y="313"/>
                  <a:pt x="319" y="313"/>
                  <a:pt x="319" y="313"/>
                </a:cubicBezTo>
                <a:cubicBezTo>
                  <a:pt x="324" y="416"/>
                  <a:pt x="324" y="416"/>
                  <a:pt x="324" y="416"/>
                </a:cubicBezTo>
                <a:cubicBezTo>
                  <a:pt x="335" y="504"/>
                  <a:pt x="335" y="504"/>
                  <a:pt x="335" y="504"/>
                </a:cubicBezTo>
                <a:cubicBezTo>
                  <a:pt x="342" y="462"/>
                  <a:pt x="342" y="462"/>
                  <a:pt x="342" y="462"/>
                </a:cubicBezTo>
                <a:cubicBezTo>
                  <a:pt x="350" y="411"/>
                  <a:pt x="350" y="411"/>
                  <a:pt x="350" y="411"/>
                </a:cubicBezTo>
                <a:cubicBezTo>
                  <a:pt x="350" y="411"/>
                  <a:pt x="349" y="376"/>
                  <a:pt x="349" y="372"/>
                </a:cubicBezTo>
                <a:cubicBezTo>
                  <a:pt x="349" y="368"/>
                  <a:pt x="346" y="313"/>
                  <a:pt x="346" y="313"/>
                </a:cubicBezTo>
                <a:cubicBezTo>
                  <a:pt x="349" y="227"/>
                  <a:pt x="349" y="227"/>
                  <a:pt x="349" y="227"/>
                </a:cubicBezTo>
                <a:lnTo>
                  <a:pt x="315" y="230"/>
                </a:lnTo>
                <a:close/>
                <a:moveTo>
                  <a:pt x="471" y="304"/>
                </a:moveTo>
                <a:cubicBezTo>
                  <a:pt x="468" y="373"/>
                  <a:pt x="468" y="373"/>
                  <a:pt x="468" y="373"/>
                </a:cubicBezTo>
                <a:cubicBezTo>
                  <a:pt x="467" y="439"/>
                  <a:pt x="467" y="439"/>
                  <a:pt x="467" y="439"/>
                </a:cubicBezTo>
                <a:cubicBezTo>
                  <a:pt x="455" y="490"/>
                  <a:pt x="455" y="490"/>
                  <a:pt x="455" y="490"/>
                </a:cubicBezTo>
                <a:cubicBezTo>
                  <a:pt x="493" y="411"/>
                  <a:pt x="493" y="411"/>
                  <a:pt x="493" y="411"/>
                </a:cubicBezTo>
                <a:cubicBezTo>
                  <a:pt x="504" y="352"/>
                  <a:pt x="504" y="352"/>
                  <a:pt x="504" y="352"/>
                </a:cubicBezTo>
                <a:cubicBezTo>
                  <a:pt x="506" y="321"/>
                  <a:pt x="506" y="321"/>
                  <a:pt x="506" y="321"/>
                </a:cubicBezTo>
                <a:cubicBezTo>
                  <a:pt x="491" y="309"/>
                  <a:pt x="491" y="309"/>
                  <a:pt x="491" y="309"/>
                </a:cubicBezTo>
                <a:cubicBezTo>
                  <a:pt x="512" y="292"/>
                  <a:pt x="512" y="292"/>
                  <a:pt x="512" y="292"/>
                </a:cubicBezTo>
                <a:cubicBezTo>
                  <a:pt x="493" y="288"/>
                  <a:pt x="493" y="288"/>
                  <a:pt x="493" y="288"/>
                </a:cubicBezTo>
                <a:cubicBezTo>
                  <a:pt x="488" y="298"/>
                  <a:pt x="488" y="298"/>
                  <a:pt x="488" y="298"/>
                </a:cubicBezTo>
                <a:lnTo>
                  <a:pt x="471" y="304"/>
                </a:lnTo>
                <a:close/>
                <a:moveTo>
                  <a:pt x="325" y="542"/>
                </a:moveTo>
                <a:cubicBezTo>
                  <a:pt x="283" y="638"/>
                  <a:pt x="283" y="638"/>
                  <a:pt x="283" y="638"/>
                </a:cubicBezTo>
                <a:cubicBezTo>
                  <a:pt x="247" y="693"/>
                  <a:pt x="247" y="693"/>
                  <a:pt x="247" y="693"/>
                </a:cubicBezTo>
                <a:cubicBezTo>
                  <a:pt x="228" y="713"/>
                  <a:pt x="228" y="713"/>
                  <a:pt x="228" y="713"/>
                </a:cubicBezTo>
                <a:cubicBezTo>
                  <a:pt x="231" y="727"/>
                  <a:pt x="231" y="727"/>
                  <a:pt x="231" y="727"/>
                </a:cubicBezTo>
                <a:cubicBezTo>
                  <a:pt x="249" y="709"/>
                  <a:pt x="249" y="709"/>
                  <a:pt x="249" y="709"/>
                </a:cubicBezTo>
                <a:cubicBezTo>
                  <a:pt x="287" y="663"/>
                  <a:pt x="287" y="663"/>
                  <a:pt x="287" y="663"/>
                </a:cubicBezTo>
                <a:cubicBezTo>
                  <a:pt x="357" y="660"/>
                  <a:pt x="357" y="660"/>
                  <a:pt x="357" y="660"/>
                </a:cubicBezTo>
                <a:cubicBezTo>
                  <a:pt x="403" y="660"/>
                  <a:pt x="403" y="660"/>
                  <a:pt x="403" y="660"/>
                </a:cubicBezTo>
                <a:cubicBezTo>
                  <a:pt x="415" y="647"/>
                  <a:pt x="415" y="647"/>
                  <a:pt x="415" y="647"/>
                </a:cubicBezTo>
                <a:cubicBezTo>
                  <a:pt x="395" y="649"/>
                  <a:pt x="395" y="649"/>
                  <a:pt x="395" y="649"/>
                </a:cubicBezTo>
                <a:cubicBezTo>
                  <a:pt x="337" y="651"/>
                  <a:pt x="337" y="651"/>
                  <a:pt x="337" y="651"/>
                </a:cubicBezTo>
                <a:cubicBezTo>
                  <a:pt x="306" y="650"/>
                  <a:pt x="306" y="650"/>
                  <a:pt x="306" y="650"/>
                </a:cubicBezTo>
                <a:cubicBezTo>
                  <a:pt x="297" y="639"/>
                  <a:pt x="297" y="639"/>
                  <a:pt x="297" y="639"/>
                </a:cubicBezTo>
                <a:cubicBezTo>
                  <a:pt x="304" y="617"/>
                  <a:pt x="304" y="617"/>
                  <a:pt x="304" y="617"/>
                </a:cubicBezTo>
                <a:lnTo>
                  <a:pt x="325" y="542"/>
                </a:lnTo>
                <a:close/>
                <a:moveTo>
                  <a:pt x="433" y="630"/>
                </a:moveTo>
                <a:cubicBezTo>
                  <a:pt x="433" y="679"/>
                  <a:pt x="433" y="679"/>
                  <a:pt x="433" y="679"/>
                </a:cubicBezTo>
                <a:cubicBezTo>
                  <a:pt x="438" y="708"/>
                  <a:pt x="438" y="708"/>
                  <a:pt x="438" y="708"/>
                </a:cubicBezTo>
                <a:cubicBezTo>
                  <a:pt x="438" y="708"/>
                  <a:pt x="462" y="737"/>
                  <a:pt x="468" y="742"/>
                </a:cubicBezTo>
                <a:cubicBezTo>
                  <a:pt x="475" y="747"/>
                  <a:pt x="496" y="756"/>
                  <a:pt x="496" y="756"/>
                </a:cubicBezTo>
                <a:cubicBezTo>
                  <a:pt x="487" y="746"/>
                  <a:pt x="487" y="746"/>
                  <a:pt x="487" y="746"/>
                </a:cubicBezTo>
                <a:cubicBezTo>
                  <a:pt x="451" y="698"/>
                  <a:pt x="451" y="698"/>
                  <a:pt x="451" y="698"/>
                </a:cubicBezTo>
                <a:cubicBezTo>
                  <a:pt x="443" y="656"/>
                  <a:pt x="443" y="656"/>
                  <a:pt x="443" y="656"/>
                </a:cubicBezTo>
                <a:cubicBezTo>
                  <a:pt x="443" y="612"/>
                  <a:pt x="443" y="612"/>
                  <a:pt x="443" y="612"/>
                </a:cubicBezTo>
                <a:cubicBezTo>
                  <a:pt x="457" y="513"/>
                  <a:pt x="457" y="513"/>
                  <a:pt x="457" y="513"/>
                </a:cubicBezTo>
                <a:lnTo>
                  <a:pt x="433" y="630"/>
                </a:lnTo>
                <a:close/>
                <a:moveTo>
                  <a:pt x="535" y="410"/>
                </a:moveTo>
                <a:cubicBezTo>
                  <a:pt x="535" y="410"/>
                  <a:pt x="506" y="485"/>
                  <a:pt x="505" y="491"/>
                </a:cubicBezTo>
                <a:cubicBezTo>
                  <a:pt x="504" y="498"/>
                  <a:pt x="504" y="527"/>
                  <a:pt x="504" y="527"/>
                </a:cubicBezTo>
                <a:cubicBezTo>
                  <a:pt x="504" y="527"/>
                  <a:pt x="503" y="573"/>
                  <a:pt x="503" y="580"/>
                </a:cubicBezTo>
                <a:cubicBezTo>
                  <a:pt x="503" y="588"/>
                  <a:pt x="514" y="656"/>
                  <a:pt x="514" y="656"/>
                </a:cubicBezTo>
                <a:cubicBezTo>
                  <a:pt x="522" y="567"/>
                  <a:pt x="522" y="567"/>
                  <a:pt x="522" y="567"/>
                </a:cubicBezTo>
                <a:cubicBezTo>
                  <a:pt x="520" y="531"/>
                  <a:pt x="520" y="531"/>
                  <a:pt x="520" y="531"/>
                </a:cubicBezTo>
                <a:cubicBezTo>
                  <a:pt x="522" y="487"/>
                  <a:pt x="522" y="487"/>
                  <a:pt x="522" y="487"/>
                </a:cubicBezTo>
                <a:cubicBezTo>
                  <a:pt x="534" y="415"/>
                  <a:pt x="534" y="415"/>
                  <a:pt x="534" y="415"/>
                </a:cubicBezTo>
                <a:moveTo>
                  <a:pt x="340" y="802"/>
                </a:moveTo>
                <a:cubicBezTo>
                  <a:pt x="323" y="781"/>
                  <a:pt x="323" y="781"/>
                  <a:pt x="323" y="781"/>
                </a:cubicBezTo>
                <a:cubicBezTo>
                  <a:pt x="319" y="794"/>
                  <a:pt x="319" y="794"/>
                  <a:pt x="319" y="794"/>
                </a:cubicBezTo>
                <a:cubicBezTo>
                  <a:pt x="336" y="826"/>
                  <a:pt x="336" y="826"/>
                  <a:pt x="336" y="826"/>
                </a:cubicBezTo>
                <a:cubicBezTo>
                  <a:pt x="346" y="860"/>
                  <a:pt x="346" y="860"/>
                  <a:pt x="346" y="860"/>
                </a:cubicBezTo>
                <a:cubicBezTo>
                  <a:pt x="344" y="883"/>
                  <a:pt x="344" y="883"/>
                  <a:pt x="344" y="883"/>
                </a:cubicBezTo>
                <a:cubicBezTo>
                  <a:pt x="358" y="830"/>
                  <a:pt x="358" y="830"/>
                  <a:pt x="358" y="830"/>
                </a:cubicBezTo>
                <a:cubicBezTo>
                  <a:pt x="387" y="801"/>
                  <a:pt x="387" y="801"/>
                  <a:pt x="387" y="801"/>
                </a:cubicBezTo>
                <a:cubicBezTo>
                  <a:pt x="377" y="799"/>
                  <a:pt x="377" y="799"/>
                  <a:pt x="377" y="799"/>
                </a:cubicBezTo>
                <a:cubicBezTo>
                  <a:pt x="377" y="799"/>
                  <a:pt x="366" y="803"/>
                  <a:pt x="361" y="805"/>
                </a:cubicBezTo>
                <a:cubicBezTo>
                  <a:pt x="356" y="806"/>
                  <a:pt x="349" y="815"/>
                  <a:pt x="349" y="815"/>
                </a:cubicBezTo>
                <a:lnTo>
                  <a:pt x="340" y="802"/>
                </a:lnTo>
                <a:close/>
              </a:path>
            </a:pathLst>
          </a:custGeom>
          <a:solidFill>
            <a:schemeClr val="tx1">
              <a:lumMod val="50000"/>
              <a:lumOff val="50000"/>
            </a:schemeClr>
          </a:solidFill>
          <a:ln>
            <a:noFill/>
          </a:ln>
        </p:spPr>
        <p:txBody>
          <a:bodyPr vert="horz" wrap="square" lIns="91440" tIns="45720" rIns="91440" bIns="45720" numCol="1" anchor="t" anchorCtr="0" compatLnSpc="1"/>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anim calcmode="lin" valueType="num">
                                      <p:cBhvr>
                                        <p:cTn id="8" dur="500" fill="hold"/>
                                        <p:tgtEl>
                                          <p:spTgt spid="81"/>
                                        </p:tgtEl>
                                        <p:attrNameLst>
                                          <p:attrName>ppt_x</p:attrName>
                                        </p:attrNameLst>
                                      </p:cBhvr>
                                      <p:tavLst>
                                        <p:tav tm="0">
                                          <p:val>
                                            <p:strVal val="#ppt_x"/>
                                          </p:val>
                                        </p:tav>
                                        <p:tav tm="100000">
                                          <p:val>
                                            <p:strVal val="#ppt_x"/>
                                          </p:val>
                                        </p:tav>
                                      </p:tavLst>
                                    </p:anim>
                                    <p:anim calcmode="lin" valueType="num">
                                      <p:cBhvr>
                                        <p:cTn id="9" dur="500" fill="hold"/>
                                        <p:tgtEl>
                                          <p:spTgt spid="81"/>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 presetClass="entr" presetSubtype="8" fill="hold" nodeType="afterEffect">
                                  <p:stCondLst>
                                    <p:cond delay="0"/>
                                  </p:stCondLst>
                                  <p:childTnLst>
                                    <p:set>
                                      <p:cBhvr>
                                        <p:cTn id="12" dur="1" fill="hold">
                                          <p:stCondLst>
                                            <p:cond delay="0"/>
                                          </p:stCondLst>
                                        </p:cTn>
                                        <p:tgtEl>
                                          <p:spTgt spid="77"/>
                                        </p:tgtEl>
                                        <p:attrNameLst>
                                          <p:attrName>style.visibility</p:attrName>
                                        </p:attrNameLst>
                                      </p:cBhvr>
                                      <p:to>
                                        <p:strVal val="visible"/>
                                      </p:to>
                                    </p:set>
                                    <p:anim calcmode="lin" valueType="num">
                                      <p:cBhvr additive="base">
                                        <p:cTn id="13" dur="500" fill="hold"/>
                                        <p:tgtEl>
                                          <p:spTgt spid="77"/>
                                        </p:tgtEl>
                                        <p:attrNameLst>
                                          <p:attrName>ppt_x</p:attrName>
                                        </p:attrNameLst>
                                      </p:cBhvr>
                                      <p:tavLst>
                                        <p:tav tm="0">
                                          <p:val>
                                            <p:strVal val="0-#ppt_w/2"/>
                                          </p:val>
                                        </p:tav>
                                        <p:tav tm="100000">
                                          <p:val>
                                            <p:strVal val="#ppt_x"/>
                                          </p:val>
                                        </p:tav>
                                      </p:tavLst>
                                    </p:anim>
                                    <p:anim calcmode="lin" valueType="num">
                                      <p:cBhvr additive="base">
                                        <p:cTn id="14" dur="500" fill="hold"/>
                                        <p:tgtEl>
                                          <p:spTgt spid="77"/>
                                        </p:tgtEl>
                                        <p:attrNameLst>
                                          <p:attrName>ppt_y</p:attrName>
                                        </p:attrNameLst>
                                      </p:cBhvr>
                                      <p:tavLst>
                                        <p:tav tm="0">
                                          <p:val>
                                            <p:strVal val="#ppt_y"/>
                                          </p:val>
                                        </p:tav>
                                        <p:tav tm="100000">
                                          <p:val>
                                            <p:strVal val="#ppt_y"/>
                                          </p:val>
                                        </p:tav>
                                      </p:tavLst>
                                    </p:anim>
                                  </p:childTnLst>
                                </p:cTn>
                              </p:par>
                              <p:par>
                                <p:cTn id="15" presetID="2" presetClass="entr" presetSubtype="8" fill="hold" nodeType="withEffect">
                                  <p:stCondLst>
                                    <p:cond delay="200"/>
                                  </p:stCondLst>
                                  <p:childTnLst>
                                    <p:set>
                                      <p:cBhvr>
                                        <p:cTn id="16" dur="1" fill="hold">
                                          <p:stCondLst>
                                            <p:cond delay="0"/>
                                          </p:stCondLst>
                                        </p:cTn>
                                        <p:tgtEl>
                                          <p:spTgt spid="74"/>
                                        </p:tgtEl>
                                        <p:attrNameLst>
                                          <p:attrName>style.visibility</p:attrName>
                                        </p:attrNameLst>
                                      </p:cBhvr>
                                      <p:to>
                                        <p:strVal val="visible"/>
                                      </p:to>
                                    </p:set>
                                    <p:anim calcmode="lin" valueType="num">
                                      <p:cBhvr additive="base">
                                        <p:cTn id="17" dur="500" fill="hold"/>
                                        <p:tgtEl>
                                          <p:spTgt spid="74"/>
                                        </p:tgtEl>
                                        <p:attrNameLst>
                                          <p:attrName>ppt_x</p:attrName>
                                        </p:attrNameLst>
                                      </p:cBhvr>
                                      <p:tavLst>
                                        <p:tav tm="0">
                                          <p:val>
                                            <p:strVal val="0-#ppt_w/2"/>
                                          </p:val>
                                        </p:tav>
                                        <p:tav tm="100000">
                                          <p:val>
                                            <p:strVal val="#ppt_x"/>
                                          </p:val>
                                        </p:tav>
                                      </p:tavLst>
                                    </p:anim>
                                    <p:anim calcmode="lin" valueType="num">
                                      <p:cBhvr additive="base">
                                        <p:cTn id="18" dur="500" fill="hold"/>
                                        <p:tgtEl>
                                          <p:spTgt spid="74"/>
                                        </p:tgtEl>
                                        <p:attrNameLst>
                                          <p:attrName>ppt_y</p:attrName>
                                        </p:attrNameLst>
                                      </p:cBhvr>
                                      <p:tavLst>
                                        <p:tav tm="0">
                                          <p:val>
                                            <p:strVal val="#ppt_y"/>
                                          </p:val>
                                        </p:tav>
                                        <p:tav tm="100000">
                                          <p:val>
                                            <p:strVal val="#ppt_y"/>
                                          </p:val>
                                        </p:tav>
                                      </p:tavLst>
                                    </p:anim>
                                  </p:childTnLst>
                                </p:cTn>
                              </p:par>
                              <p:par>
                                <p:cTn id="19" presetID="2" presetClass="entr" presetSubtype="8" fill="hold" nodeType="withEffect">
                                  <p:stCondLst>
                                    <p:cond delay="400"/>
                                  </p:stCondLst>
                                  <p:childTnLst>
                                    <p:set>
                                      <p:cBhvr>
                                        <p:cTn id="20" dur="1" fill="hold">
                                          <p:stCondLst>
                                            <p:cond delay="0"/>
                                          </p:stCondLst>
                                        </p:cTn>
                                        <p:tgtEl>
                                          <p:spTgt spid="73"/>
                                        </p:tgtEl>
                                        <p:attrNameLst>
                                          <p:attrName>style.visibility</p:attrName>
                                        </p:attrNameLst>
                                      </p:cBhvr>
                                      <p:to>
                                        <p:strVal val="visible"/>
                                      </p:to>
                                    </p:set>
                                    <p:anim calcmode="lin" valueType="num">
                                      <p:cBhvr additive="base">
                                        <p:cTn id="21" dur="500" fill="hold"/>
                                        <p:tgtEl>
                                          <p:spTgt spid="73"/>
                                        </p:tgtEl>
                                        <p:attrNameLst>
                                          <p:attrName>ppt_x</p:attrName>
                                        </p:attrNameLst>
                                      </p:cBhvr>
                                      <p:tavLst>
                                        <p:tav tm="0">
                                          <p:val>
                                            <p:strVal val="0-#ppt_w/2"/>
                                          </p:val>
                                        </p:tav>
                                        <p:tav tm="100000">
                                          <p:val>
                                            <p:strVal val="#ppt_x"/>
                                          </p:val>
                                        </p:tav>
                                      </p:tavLst>
                                    </p:anim>
                                    <p:anim calcmode="lin" valueType="num">
                                      <p:cBhvr additive="base">
                                        <p:cTn id="22" dur="500" fill="hold"/>
                                        <p:tgtEl>
                                          <p:spTgt spid="73"/>
                                        </p:tgtEl>
                                        <p:attrNameLst>
                                          <p:attrName>ppt_y</p:attrName>
                                        </p:attrNameLst>
                                      </p:cBhvr>
                                      <p:tavLst>
                                        <p:tav tm="0">
                                          <p:val>
                                            <p:strVal val="#ppt_y"/>
                                          </p:val>
                                        </p:tav>
                                        <p:tav tm="100000">
                                          <p:val>
                                            <p:strVal val="#ppt_y"/>
                                          </p:val>
                                        </p:tav>
                                      </p:tavLst>
                                    </p:anim>
                                  </p:childTnLst>
                                </p:cTn>
                              </p:par>
                              <p:par>
                                <p:cTn id="23" presetID="2" presetClass="entr" presetSubtype="8" fill="hold" nodeType="withEffect">
                                  <p:stCondLst>
                                    <p:cond delay="600"/>
                                  </p:stCondLst>
                                  <p:childTnLst>
                                    <p:set>
                                      <p:cBhvr>
                                        <p:cTn id="24" dur="1" fill="hold">
                                          <p:stCondLst>
                                            <p:cond delay="0"/>
                                          </p:stCondLst>
                                        </p:cTn>
                                        <p:tgtEl>
                                          <p:spTgt spid="72"/>
                                        </p:tgtEl>
                                        <p:attrNameLst>
                                          <p:attrName>style.visibility</p:attrName>
                                        </p:attrNameLst>
                                      </p:cBhvr>
                                      <p:to>
                                        <p:strVal val="visible"/>
                                      </p:to>
                                    </p:set>
                                    <p:anim calcmode="lin" valueType="num">
                                      <p:cBhvr additive="base">
                                        <p:cTn id="25" dur="500" fill="hold"/>
                                        <p:tgtEl>
                                          <p:spTgt spid="72"/>
                                        </p:tgtEl>
                                        <p:attrNameLst>
                                          <p:attrName>ppt_x</p:attrName>
                                        </p:attrNameLst>
                                      </p:cBhvr>
                                      <p:tavLst>
                                        <p:tav tm="0">
                                          <p:val>
                                            <p:strVal val="0-#ppt_w/2"/>
                                          </p:val>
                                        </p:tav>
                                        <p:tav tm="100000">
                                          <p:val>
                                            <p:strVal val="#ppt_x"/>
                                          </p:val>
                                        </p:tav>
                                      </p:tavLst>
                                    </p:anim>
                                    <p:anim calcmode="lin" valueType="num">
                                      <p:cBhvr additive="base">
                                        <p:cTn id="26" dur="500" fill="hold"/>
                                        <p:tgtEl>
                                          <p:spTgt spid="7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9512" y="193204"/>
            <a:ext cx="4973233" cy="400110"/>
          </a:xfrm>
          <a:prstGeom prst="rect">
            <a:avLst/>
          </a:prstGeom>
          <a:noFill/>
        </p:spPr>
        <p:txBody>
          <a:bodyPr wrap="square" rtlCol="0">
            <a:spAutoFit/>
          </a:bodyPr>
          <a:lstStyle/>
          <a:p>
            <a:r>
              <a:rPr lang="zh-CN" altLang="en-US" sz="2000" dirty="0">
                <a:solidFill>
                  <a:schemeClr val="tx1">
                    <a:lumMod val="75000"/>
                    <a:lumOff val="25000"/>
                  </a:schemeClr>
                </a:solidFill>
                <a:latin typeface="方正大黑简体" panose="02010601030101010101" pitchFamily="2" charset="-122"/>
                <a:ea typeface="方正大黑简体" panose="02010601030101010101" pitchFamily="2" charset="-122"/>
              </a:rPr>
              <a:t>点击输入你的标题</a:t>
            </a:r>
          </a:p>
        </p:txBody>
      </p:sp>
      <p:grpSp>
        <p:nvGrpSpPr>
          <p:cNvPr id="7" name="组合 6"/>
          <p:cNvGrpSpPr/>
          <p:nvPr/>
        </p:nvGrpSpPr>
        <p:grpSpPr>
          <a:xfrm>
            <a:off x="729467" y="2463801"/>
            <a:ext cx="1104900" cy="1273175"/>
            <a:chOff x="729467" y="2463801"/>
            <a:chExt cx="1104900" cy="1273175"/>
          </a:xfrm>
        </p:grpSpPr>
        <p:sp>
          <p:nvSpPr>
            <p:cNvPr id="180" name="Freeform 54"/>
            <p:cNvSpPr/>
            <p:nvPr/>
          </p:nvSpPr>
          <p:spPr bwMode="auto">
            <a:xfrm>
              <a:off x="1202542" y="2463801"/>
              <a:ext cx="631825" cy="1273175"/>
            </a:xfrm>
            <a:custGeom>
              <a:avLst/>
              <a:gdLst>
                <a:gd name="T0" fmla="*/ 15 w 60"/>
                <a:gd name="T1" fmla="*/ 51 h 121"/>
                <a:gd name="T2" fmla="*/ 0 w 60"/>
                <a:gd name="T3" fmla="*/ 62 h 121"/>
                <a:gd name="T4" fmla="*/ 15 w 60"/>
                <a:gd name="T5" fmla="*/ 72 h 121"/>
                <a:gd name="T6" fmla="*/ 37 w 60"/>
                <a:gd name="T7" fmla="*/ 121 h 121"/>
                <a:gd name="T8" fmla="*/ 58 w 60"/>
                <a:gd name="T9" fmla="*/ 100 h 121"/>
                <a:gd name="T10" fmla="*/ 44 w 60"/>
                <a:gd name="T11" fmla="*/ 62 h 121"/>
                <a:gd name="T12" fmla="*/ 60 w 60"/>
                <a:gd name="T13" fmla="*/ 22 h 121"/>
                <a:gd name="T14" fmla="*/ 38 w 60"/>
                <a:gd name="T15" fmla="*/ 0 h 121"/>
                <a:gd name="T16" fmla="*/ 15 w 60"/>
                <a:gd name="T17" fmla="*/ 5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121">
                  <a:moveTo>
                    <a:pt x="15" y="51"/>
                  </a:moveTo>
                  <a:cubicBezTo>
                    <a:pt x="0" y="62"/>
                    <a:pt x="0" y="62"/>
                    <a:pt x="0" y="62"/>
                  </a:cubicBezTo>
                  <a:cubicBezTo>
                    <a:pt x="15" y="72"/>
                    <a:pt x="15" y="72"/>
                    <a:pt x="15" y="72"/>
                  </a:cubicBezTo>
                  <a:cubicBezTo>
                    <a:pt x="17" y="91"/>
                    <a:pt x="25" y="108"/>
                    <a:pt x="37" y="121"/>
                  </a:cubicBezTo>
                  <a:cubicBezTo>
                    <a:pt x="58" y="100"/>
                    <a:pt x="58" y="100"/>
                    <a:pt x="58" y="100"/>
                  </a:cubicBezTo>
                  <a:cubicBezTo>
                    <a:pt x="50" y="90"/>
                    <a:pt x="44" y="76"/>
                    <a:pt x="44" y="62"/>
                  </a:cubicBezTo>
                  <a:cubicBezTo>
                    <a:pt x="44" y="46"/>
                    <a:pt x="50" y="32"/>
                    <a:pt x="60" y="22"/>
                  </a:cubicBezTo>
                  <a:cubicBezTo>
                    <a:pt x="38" y="0"/>
                    <a:pt x="38" y="0"/>
                    <a:pt x="38" y="0"/>
                  </a:cubicBezTo>
                  <a:cubicBezTo>
                    <a:pt x="26" y="14"/>
                    <a:pt x="17" y="32"/>
                    <a:pt x="15" y="51"/>
                  </a:cubicBezTo>
                  <a:close/>
                </a:path>
              </a:pathLst>
            </a:custGeom>
            <a:solidFill>
              <a:srgbClr val="0070C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84" name="Freeform 58"/>
            <p:cNvSpPr/>
            <p:nvPr/>
          </p:nvSpPr>
          <p:spPr bwMode="auto">
            <a:xfrm>
              <a:off x="772330" y="3021013"/>
              <a:ext cx="230188" cy="220663"/>
            </a:xfrm>
            <a:custGeom>
              <a:avLst/>
              <a:gdLst>
                <a:gd name="T0" fmla="*/ 73 w 145"/>
                <a:gd name="T1" fmla="*/ 0 h 139"/>
                <a:gd name="T2" fmla="*/ 40 w 145"/>
                <a:gd name="T3" fmla="*/ 33 h 139"/>
                <a:gd name="T4" fmla="*/ 0 w 145"/>
                <a:gd name="T5" fmla="*/ 60 h 139"/>
                <a:gd name="T6" fmla="*/ 0 w 145"/>
                <a:gd name="T7" fmla="*/ 139 h 139"/>
                <a:gd name="T8" fmla="*/ 53 w 145"/>
                <a:gd name="T9" fmla="*/ 139 h 139"/>
                <a:gd name="T10" fmla="*/ 53 w 145"/>
                <a:gd name="T11" fmla="*/ 73 h 139"/>
                <a:gd name="T12" fmla="*/ 92 w 145"/>
                <a:gd name="T13" fmla="*/ 73 h 139"/>
                <a:gd name="T14" fmla="*/ 92 w 145"/>
                <a:gd name="T15" fmla="*/ 139 h 139"/>
                <a:gd name="T16" fmla="*/ 145 w 145"/>
                <a:gd name="T17" fmla="*/ 139 h 139"/>
                <a:gd name="T18" fmla="*/ 145 w 145"/>
                <a:gd name="T19" fmla="*/ 60 h 139"/>
                <a:gd name="T20" fmla="*/ 112 w 145"/>
                <a:gd name="T21" fmla="*/ 33 h 139"/>
                <a:gd name="T22" fmla="*/ 73 w 145"/>
                <a:gd name="T23"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39">
                  <a:moveTo>
                    <a:pt x="73" y="0"/>
                  </a:moveTo>
                  <a:lnTo>
                    <a:pt x="40" y="33"/>
                  </a:lnTo>
                  <a:lnTo>
                    <a:pt x="0" y="60"/>
                  </a:lnTo>
                  <a:lnTo>
                    <a:pt x="0" y="139"/>
                  </a:lnTo>
                  <a:lnTo>
                    <a:pt x="53" y="139"/>
                  </a:lnTo>
                  <a:lnTo>
                    <a:pt x="53" y="73"/>
                  </a:lnTo>
                  <a:lnTo>
                    <a:pt x="92" y="73"/>
                  </a:lnTo>
                  <a:lnTo>
                    <a:pt x="92" y="139"/>
                  </a:lnTo>
                  <a:lnTo>
                    <a:pt x="145" y="139"/>
                  </a:lnTo>
                  <a:lnTo>
                    <a:pt x="145" y="60"/>
                  </a:lnTo>
                  <a:lnTo>
                    <a:pt x="112" y="33"/>
                  </a:lnTo>
                  <a:lnTo>
                    <a:pt x="73" y="0"/>
                  </a:lnTo>
                  <a:close/>
                </a:path>
              </a:pathLst>
            </a:custGeom>
            <a:solidFill>
              <a:srgbClr val="0070C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85" name="Freeform 59"/>
            <p:cNvSpPr/>
            <p:nvPr/>
          </p:nvSpPr>
          <p:spPr bwMode="auto">
            <a:xfrm>
              <a:off x="729467" y="2968626"/>
              <a:ext cx="315913" cy="147638"/>
            </a:xfrm>
            <a:custGeom>
              <a:avLst/>
              <a:gdLst>
                <a:gd name="T0" fmla="*/ 159 w 199"/>
                <a:gd name="T1" fmla="*/ 53 h 93"/>
                <a:gd name="T2" fmla="*/ 159 w 199"/>
                <a:gd name="T3" fmla="*/ 13 h 93"/>
                <a:gd name="T4" fmla="*/ 133 w 199"/>
                <a:gd name="T5" fmla="*/ 13 h 93"/>
                <a:gd name="T6" fmla="*/ 133 w 199"/>
                <a:gd name="T7" fmla="*/ 27 h 93"/>
                <a:gd name="T8" fmla="*/ 113 w 199"/>
                <a:gd name="T9" fmla="*/ 13 h 93"/>
                <a:gd name="T10" fmla="*/ 100 w 199"/>
                <a:gd name="T11" fmla="*/ 0 h 93"/>
                <a:gd name="T12" fmla="*/ 86 w 199"/>
                <a:gd name="T13" fmla="*/ 13 h 93"/>
                <a:gd name="T14" fmla="*/ 0 w 199"/>
                <a:gd name="T15" fmla="*/ 80 h 93"/>
                <a:gd name="T16" fmla="*/ 14 w 199"/>
                <a:gd name="T17" fmla="*/ 93 h 93"/>
                <a:gd name="T18" fmla="*/ 100 w 199"/>
                <a:gd name="T19" fmla="*/ 20 h 93"/>
                <a:gd name="T20" fmla="*/ 192 w 199"/>
                <a:gd name="T21" fmla="*/ 93 h 93"/>
                <a:gd name="T22" fmla="*/ 199 w 199"/>
                <a:gd name="T23" fmla="*/ 80 h 93"/>
                <a:gd name="T24" fmla="*/ 159 w 199"/>
                <a:gd name="T25" fmla="*/ 5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9" h="93">
                  <a:moveTo>
                    <a:pt x="159" y="53"/>
                  </a:moveTo>
                  <a:lnTo>
                    <a:pt x="159" y="13"/>
                  </a:lnTo>
                  <a:lnTo>
                    <a:pt x="133" y="13"/>
                  </a:lnTo>
                  <a:lnTo>
                    <a:pt x="133" y="27"/>
                  </a:lnTo>
                  <a:lnTo>
                    <a:pt x="113" y="13"/>
                  </a:lnTo>
                  <a:lnTo>
                    <a:pt x="100" y="0"/>
                  </a:lnTo>
                  <a:lnTo>
                    <a:pt x="86" y="13"/>
                  </a:lnTo>
                  <a:lnTo>
                    <a:pt x="0" y="80"/>
                  </a:lnTo>
                  <a:lnTo>
                    <a:pt x="14" y="93"/>
                  </a:lnTo>
                  <a:lnTo>
                    <a:pt x="100" y="20"/>
                  </a:lnTo>
                  <a:lnTo>
                    <a:pt x="192" y="93"/>
                  </a:lnTo>
                  <a:lnTo>
                    <a:pt x="199" y="80"/>
                  </a:lnTo>
                  <a:lnTo>
                    <a:pt x="159" y="53"/>
                  </a:lnTo>
                  <a:close/>
                </a:path>
              </a:pathLst>
            </a:custGeom>
            <a:solidFill>
              <a:srgbClr val="0070C0"/>
            </a:solidFill>
            <a:ln>
              <a:noFill/>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5" name="组合 4"/>
          <p:cNvGrpSpPr/>
          <p:nvPr/>
        </p:nvGrpSpPr>
        <p:grpSpPr>
          <a:xfrm>
            <a:off x="2726542" y="2441576"/>
            <a:ext cx="904876" cy="1327150"/>
            <a:chOff x="2726542" y="2441576"/>
            <a:chExt cx="904876" cy="1327150"/>
          </a:xfrm>
        </p:grpSpPr>
        <p:grpSp>
          <p:nvGrpSpPr>
            <p:cNvPr id="3" name="组合 2"/>
            <p:cNvGrpSpPr/>
            <p:nvPr/>
          </p:nvGrpSpPr>
          <p:grpSpPr>
            <a:xfrm>
              <a:off x="2726542" y="2441576"/>
              <a:ext cx="904876" cy="1327150"/>
              <a:chOff x="2726542" y="2441576"/>
              <a:chExt cx="904876" cy="1327150"/>
            </a:xfrm>
          </p:grpSpPr>
          <p:sp>
            <p:nvSpPr>
              <p:cNvPr id="183" name="Freeform 57"/>
              <p:cNvSpPr/>
              <p:nvPr/>
            </p:nvSpPr>
            <p:spPr bwMode="auto">
              <a:xfrm>
                <a:off x="2726542" y="2441576"/>
                <a:ext cx="620713" cy="1327150"/>
              </a:xfrm>
              <a:custGeom>
                <a:avLst/>
                <a:gdLst>
                  <a:gd name="T0" fmla="*/ 47 w 59"/>
                  <a:gd name="T1" fmla="*/ 55 h 126"/>
                  <a:gd name="T2" fmla="*/ 21 w 59"/>
                  <a:gd name="T3" fmla="*/ 0 h 126"/>
                  <a:gd name="T4" fmla="*/ 0 w 59"/>
                  <a:gd name="T5" fmla="*/ 22 h 126"/>
                  <a:gd name="T6" fmla="*/ 17 w 59"/>
                  <a:gd name="T7" fmla="*/ 64 h 126"/>
                  <a:gd name="T8" fmla="*/ 1 w 59"/>
                  <a:gd name="T9" fmla="*/ 104 h 126"/>
                  <a:gd name="T10" fmla="*/ 23 w 59"/>
                  <a:gd name="T11" fmla="*/ 126 h 126"/>
                  <a:gd name="T12" fmla="*/ 47 w 59"/>
                  <a:gd name="T13" fmla="*/ 73 h 126"/>
                  <a:gd name="T14" fmla="*/ 59 w 59"/>
                  <a:gd name="T15" fmla="*/ 64 h 126"/>
                  <a:gd name="T16" fmla="*/ 47 w 59"/>
                  <a:gd name="T17" fmla="*/ 5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126">
                    <a:moveTo>
                      <a:pt x="47" y="55"/>
                    </a:moveTo>
                    <a:cubicBezTo>
                      <a:pt x="45" y="33"/>
                      <a:pt x="36" y="14"/>
                      <a:pt x="21" y="0"/>
                    </a:cubicBezTo>
                    <a:cubicBezTo>
                      <a:pt x="0" y="22"/>
                      <a:pt x="0" y="22"/>
                      <a:pt x="0" y="22"/>
                    </a:cubicBezTo>
                    <a:cubicBezTo>
                      <a:pt x="11" y="32"/>
                      <a:pt x="17" y="47"/>
                      <a:pt x="17" y="64"/>
                    </a:cubicBezTo>
                    <a:cubicBezTo>
                      <a:pt x="17" y="79"/>
                      <a:pt x="11" y="94"/>
                      <a:pt x="1" y="104"/>
                    </a:cubicBezTo>
                    <a:cubicBezTo>
                      <a:pt x="23" y="126"/>
                      <a:pt x="23" y="126"/>
                      <a:pt x="23" y="126"/>
                    </a:cubicBezTo>
                    <a:cubicBezTo>
                      <a:pt x="36" y="112"/>
                      <a:pt x="45" y="93"/>
                      <a:pt x="47" y="73"/>
                    </a:cubicBezTo>
                    <a:cubicBezTo>
                      <a:pt x="59" y="64"/>
                      <a:pt x="59" y="64"/>
                      <a:pt x="59" y="64"/>
                    </a:cubicBezTo>
                    <a:lnTo>
                      <a:pt x="47" y="55"/>
                    </a:lnTo>
                    <a:close/>
                  </a:path>
                </a:pathLst>
              </a:custGeom>
              <a:solidFill>
                <a:srgbClr val="5D82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86" name="Freeform 60"/>
              <p:cNvSpPr/>
              <p:nvPr/>
            </p:nvSpPr>
            <p:spPr bwMode="auto">
              <a:xfrm>
                <a:off x="3442505" y="2968626"/>
                <a:ext cx="188913" cy="400050"/>
              </a:xfrm>
              <a:custGeom>
                <a:avLst/>
                <a:gdLst>
                  <a:gd name="T0" fmla="*/ 13 w 18"/>
                  <a:gd name="T1" fmla="*/ 0 h 38"/>
                  <a:gd name="T2" fmla="*/ 4 w 18"/>
                  <a:gd name="T3" fmla="*/ 0 h 38"/>
                  <a:gd name="T4" fmla="*/ 0 w 18"/>
                  <a:gd name="T5" fmla="*/ 4 h 38"/>
                  <a:gd name="T6" fmla="*/ 0 w 18"/>
                  <a:gd name="T7" fmla="*/ 4 h 38"/>
                  <a:gd name="T8" fmla="*/ 0 w 18"/>
                  <a:gd name="T9" fmla="*/ 5 h 38"/>
                  <a:gd name="T10" fmla="*/ 0 w 18"/>
                  <a:gd name="T11" fmla="*/ 17 h 38"/>
                  <a:gd name="T12" fmla="*/ 1 w 18"/>
                  <a:gd name="T13" fmla="*/ 18 h 38"/>
                  <a:gd name="T14" fmla="*/ 3 w 18"/>
                  <a:gd name="T15" fmla="*/ 17 h 38"/>
                  <a:gd name="T16" fmla="*/ 3 w 18"/>
                  <a:gd name="T17" fmla="*/ 6 h 38"/>
                  <a:gd name="T18" fmla="*/ 4 w 18"/>
                  <a:gd name="T19" fmla="*/ 6 h 38"/>
                  <a:gd name="T20" fmla="*/ 4 w 18"/>
                  <a:gd name="T21" fmla="*/ 17 h 38"/>
                  <a:gd name="T22" fmla="*/ 4 w 18"/>
                  <a:gd name="T23" fmla="*/ 17 h 38"/>
                  <a:gd name="T24" fmla="*/ 4 w 18"/>
                  <a:gd name="T25" fmla="*/ 35 h 38"/>
                  <a:gd name="T26" fmla="*/ 6 w 18"/>
                  <a:gd name="T27" fmla="*/ 38 h 38"/>
                  <a:gd name="T28" fmla="*/ 8 w 18"/>
                  <a:gd name="T29" fmla="*/ 35 h 38"/>
                  <a:gd name="T30" fmla="*/ 8 w 18"/>
                  <a:gd name="T31" fmla="*/ 19 h 38"/>
                  <a:gd name="T32" fmla="*/ 9 w 18"/>
                  <a:gd name="T33" fmla="*/ 19 h 38"/>
                  <a:gd name="T34" fmla="*/ 9 w 18"/>
                  <a:gd name="T35" fmla="*/ 35 h 38"/>
                  <a:gd name="T36" fmla="*/ 11 w 18"/>
                  <a:gd name="T37" fmla="*/ 38 h 38"/>
                  <a:gd name="T38" fmla="*/ 13 w 18"/>
                  <a:gd name="T39" fmla="*/ 35 h 38"/>
                  <a:gd name="T40" fmla="*/ 13 w 18"/>
                  <a:gd name="T41" fmla="*/ 17 h 38"/>
                  <a:gd name="T42" fmla="*/ 13 w 18"/>
                  <a:gd name="T43" fmla="*/ 16 h 38"/>
                  <a:gd name="T44" fmla="*/ 13 w 18"/>
                  <a:gd name="T45" fmla="*/ 6 h 38"/>
                  <a:gd name="T46" fmla="*/ 14 w 18"/>
                  <a:gd name="T47" fmla="*/ 6 h 38"/>
                  <a:gd name="T48" fmla="*/ 14 w 18"/>
                  <a:gd name="T49" fmla="*/ 17 h 38"/>
                  <a:gd name="T50" fmla="*/ 16 w 18"/>
                  <a:gd name="T51" fmla="*/ 18 h 38"/>
                  <a:gd name="T52" fmla="*/ 18 w 18"/>
                  <a:gd name="T53" fmla="*/ 17 h 38"/>
                  <a:gd name="T54" fmla="*/ 18 w 18"/>
                  <a:gd name="T55" fmla="*/ 5 h 38"/>
                  <a:gd name="T56" fmla="*/ 18 w 18"/>
                  <a:gd name="T57" fmla="*/ 4 h 38"/>
                  <a:gd name="T58" fmla="*/ 18 w 18"/>
                  <a:gd name="T59" fmla="*/ 4 h 38"/>
                  <a:gd name="T60" fmla="*/ 13 w 18"/>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 h="38">
                    <a:moveTo>
                      <a:pt x="13" y="0"/>
                    </a:moveTo>
                    <a:cubicBezTo>
                      <a:pt x="4" y="0"/>
                      <a:pt x="4" y="0"/>
                      <a:pt x="4" y="0"/>
                    </a:cubicBezTo>
                    <a:cubicBezTo>
                      <a:pt x="1" y="0"/>
                      <a:pt x="0" y="3"/>
                      <a:pt x="0" y="4"/>
                    </a:cubicBezTo>
                    <a:cubicBezTo>
                      <a:pt x="0" y="4"/>
                      <a:pt x="0" y="4"/>
                      <a:pt x="0" y="4"/>
                    </a:cubicBezTo>
                    <a:cubicBezTo>
                      <a:pt x="0" y="5"/>
                      <a:pt x="0" y="5"/>
                      <a:pt x="0" y="5"/>
                    </a:cubicBezTo>
                    <a:cubicBezTo>
                      <a:pt x="0" y="17"/>
                      <a:pt x="0" y="17"/>
                      <a:pt x="0" y="17"/>
                    </a:cubicBezTo>
                    <a:cubicBezTo>
                      <a:pt x="0" y="18"/>
                      <a:pt x="0" y="18"/>
                      <a:pt x="1" y="18"/>
                    </a:cubicBezTo>
                    <a:cubicBezTo>
                      <a:pt x="2" y="18"/>
                      <a:pt x="3" y="18"/>
                      <a:pt x="3" y="17"/>
                    </a:cubicBezTo>
                    <a:cubicBezTo>
                      <a:pt x="3" y="6"/>
                      <a:pt x="3" y="6"/>
                      <a:pt x="3" y="6"/>
                    </a:cubicBezTo>
                    <a:cubicBezTo>
                      <a:pt x="4" y="6"/>
                      <a:pt x="4" y="6"/>
                      <a:pt x="4" y="6"/>
                    </a:cubicBezTo>
                    <a:cubicBezTo>
                      <a:pt x="4" y="17"/>
                      <a:pt x="4" y="17"/>
                      <a:pt x="4" y="17"/>
                    </a:cubicBezTo>
                    <a:cubicBezTo>
                      <a:pt x="4" y="17"/>
                      <a:pt x="4" y="17"/>
                      <a:pt x="4" y="17"/>
                    </a:cubicBezTo>
                    <a:cubicBezTo>
                      <a:pt x="4" y="35"/>
                      <a:pt x="4" y="35"/>
                      <a:pt x="4" y="35"/>
                    </a:cubicBezTo>
                    <a:cubicBezTo>
                      <a:pt x="4" y="37"/>
                      <a:pt x="5" y="38"/>
                      <a:pt x="6" y="38"/>
                    </a:cubicBezTo>
                    <a:cubicBezTo>
                      <a:pt x="7" y="38"/>
                      <a:pt x="8" y="37"/>
                      <a:pt x="8" y="35"/>
                    </a:cubicBezTo>
                    <a:cubicBezTo>
                      <a:pt x="8" y="19"/>
                      <a:pt x="8" y="19"/>
                      <a:pt x="8" y="19"/>
                    </a:cubicBezTo>
                    <a:cubicBezTo>
                      <a:pt x="9" y="19"/>
                      <a:pt x="9" y="19"/>
                      <a:pt x="9" y="19"/>
                    </a:cubicBezTo>
                    <a:cubicBezTo>
                      <a:pt x="9" y="35"/>
                      <a:pt x="9" y="35"/>
                      <a:pt x="9" y="35"/>
                    </a:cubicBezTo>
                    <a:cubicBezTo>
                      <a:pt x="9" y="37"/>
                      <a:pt x="10" y="38"/>
                      <a:pt x="11" y="38"/>
                    </a:cubicBezTo>
                    <a:cubicBezTo>
                      <a:pt x="12" y="38"/>
                      <a:pt x="13" y="37"/>
                      <a:pt x="13" y="35"/>
                    </a:cubicBezTo>
                    <a:cubicBezTo>
                      <a:pt x="13" y="17"/>
                      <a:pt x="13" y="17"/>
                      <a:pt x="13" y="17"/>
                    </a:cubicBezTo>
                    <a:cubicBezTo>
                      <a:pt x="13" y="16"/>
                      <a:pt x="13" y="16"/>
                      <a:pt x="13" y="16"/>
                    </a:cubicBezTo>
                    <a:cubicBezTo>
                      <a:pt x="13" y="6"/>
                      <a:pt x="13" y="6"/>
                      <a:pt x="13" y="6"/>
                    </a:cubicBezTo>
                    <a:cubicBezTo>
                      <a:pt x="14" y="6"/>
                      <a:pt x="14" y="6"/>
                      <a:pt x="14" y="6"/>
                    </a:cubicBezTo>
                    <a:cubicBezTo>
                      <a:pt x="14" y="17"/>
                      <a:pt x="14" y="17"/>
                      <a:pt x="14" y="17"/>
                    </a:cubicBezTo>
                    <a:cubicBezTo>
                      <a:pt x="14" y="18"/>
                      <a:pt x="15" y="18"/>
                      <a:pt x="16" y="18"/>
                    </a:cubicBezTo>
                    <a:cubicBezTo>
                      <a:pt x="17" y="18"/>
                      <a:pt x="18" y="18"/>
                      <a:pt x="18" y="17"/>
                    </a:cubicBezTo>
                    <a:cubicBezTo>
                      <a:pt x="18" y="5"/>
                      <a:pt x="18" y="5"/>
                      <a:pt x="18" y="5"/>
                    </a:cubicBezTo>
                    <a:cubicBezTo>
                      <a:pt x="18" y="4"/>
                      <a:pt x="18" y="4"/>
                      <a:pt x="18" y="4"/>
                    </a:cubicBezTo>
                    <a:cubicBezTo>
                      <a:pt x="18" y="4"/>
                      <a:pt x="18" y="4"/>
                      <a:pt x="18" y="4"/>
                    </a:cubicBezTo>
                    <a:cubicBezTo>
                      <a:pt x="18" y="3"/>
                      <a:pt x="16" y="0"/>
                      <a:pt x="13" y="0"/>
                    </a:cubicBezTo>
                    <a:close/>
                  </a:path>
                </a:pathLst>
              </a:custGeom>
              <a:solidFill>
                <a:srgbClr val="5D82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sp>
          <p:nvSpPr>
            <p:cNvPr id="187" name="Oval 61"/>
            <p:cNvSpPr>
              <a:spLocks noChangeArrowheads="1"/>
            </p:cNvSpPr>
            <p:nvPr/>
          </p:nvSpPr>
          <p:spPr bwMode="auto">
            <a:xfrm>
              <a:off x="3494892" y="2895601"/>
              <a:ext cx="73025" cy="73025"/>
            </a:xfrm>
            <a:prstGeom prst="ellipse">
              <a:avLst/>
            </a:prstGeom>
            <a:solidFill>
              <a:srgbClr val="5D82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6" name="组合 5"/>
          <p:cNvGrpSpPr/>
          <p:nvPr/>
        </p:nvGrpSpPr>
        <p:grpSpPr>
          <a:xfrm>
            <a:off x="1623230" y="3548063"/>
            <a:ext cx="1314450" cy="1042988"/>
            <a:chOff x="1623230" y="3548063"/>
            <a:chExt cx="1314450" cy="1042988"/>
          </a:xfrm>
        </p:grpSpPr>
        <p:sp>
          <p:nvSpPr>
            <p:cNvPr id="181" name="Freeform 55"/>
            <p:cNvSpPr/>
            <p:nvPr/>
          </p:nvSpPr>
          <p:spPr bwMode="auto">
            <a:xfrm>
              <a:off x="1623230" y="3548063"/>
              <a:ext cx="1314450" cy="631825"/>
            </a:xfrm>
            <a:custGeom>
              <a:avLst/>
              <a:gdLst>
                <a:gd name="T0" fmla="*/ 21 w 125"/>
                <a:gd name="T1" fmla="*/ 0 h 60"/>
                <a:gd name="T2" fmla="*/ 0 w 125"/>
                <a:gd name="T3" fmla="*/ 22 h 60"/>
                <a:gd name="T4" fmla="*/ 53 w 125"/>
                <a:gd name="T5" fmla="*/ 48 h 60"/>
                <a:gd name="T6" fmla="*/ 62 w 125"/>
                <a:gd name="T7" fmla="*/ 60 h 60"/>
                <a:gd name="T8" fmla="*/ 71 w 125"/>
                <a:gd name="T9" fmla="*/ 48 h 60"/>
                <a:gd name="T10" fmla="*/ 125 w 125"/>
                <a:gd name="T11" fmla="*/ 24 h 60"/>
                <a:gd name="T12" fmla="*/ 103 w 125"/>
                <a:gd name="T13" fmla="*/ 2 h 60"/>
                <a:gd name="T14" fmla="*/ 63 w 125"/>
                <a:gd name="T15" fmla="*/ 18 h 60"/>
                <a:gd name="T16" fmla="*/ 21 w 125"/>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60">
                  <a:moveTo>
                    <a:pt x="21" y="0"/>
                  </a:moveTo>
                  <a:cubicBezTo>
                    <a:pt x="0" y="22"/>
                    <a:pt x="0" y="22"/>
                    <a:pt x="0" y="22"/>
                  </a:cubicBezTo>
                  <a:cubicBezTo>
                    <a:pt x="14" y="36"/>
                    <a:pt x="32" y="45"/>
                    <a:pt x="53" y="48"/>
                  </a:cubicBezTo>
                  <a:cubicBezTo>
                    <a:pt x="62" y="60"/>
                    <a:pt x="62" y="60"/>
                    <a:pt x="62" y="60"/>
                  </a:cubicBezTo>
                  <a:cubicBezTo>
                    <a:pt x="71" y="48"/>
                    <a:pt x="71" y="48"/>
                    <a:pt x="71" y="48"/>
                  </a:cubicBezTo>
                  <a:cubicBezTo>
                    <a:pt x="92" y="46"/>
                    <a:pt x="110" y="37"/>
                    <a:pt x="125" y="24"/>
                  </a:cubicBezTo>
                  <a:cubicBezTo>
                    <a:pt x="103" y="2"/>
                    <a:pt x="103" y="2"/>
                    <a:pt x="103" y="2"/>
                  </a:cubicBezTo>
                  <a:cubicBezTo>
                    <a:pt x="93" y="12"/>
                    <a:pt x="79" y="18"/>
                    <a:pt x="63" y="18"/>
                  </a:cubicBezTo>
                  <a:cubicBezTo>
                    <a:pt x="47" y="18"/>
                    <a:pt x="32" y="11"/>
                    <a:pt x="21" y="0"/>
                  </a:cubicBezTo>
                  <a:close/>
                </a:path>
              </a:pathLst>
            </a:custGeom>
            <a:solidFill>
              <a:srgbClr val="E149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88" name="Freeform 62"/>
            <p:cNvSpPr/>
            <p:nvPr/>
          </p:nvSpPr>
          <p:spPr bwMode="auto">
            <a:xfrm>
              <a:off x="2085192" y="4232276"/>
              <a:ext cx="388938" cy="358775"/>
            </a:xfrm>
            <a:custGeom>
              <a:avLst/>
              <a:gdLst>
                <a:gd name="T0" fmla="*/ 0 w 37"/>
                <a:gd name="T1" fmla="*/ 34 h 34"/>
                <a:gd name="T2" fmla="*/ 2 w 37"/>
                <a:gd name="T3" fmla="*/ 34 h 34"/>
                <a:gd name="T4" fmla="*/ 6 w 37"/>
                <a:gd name="T5" fmla="*/ 27 h 34"/>
                <a:gd name="T6" fmla="*/ 23 w 37"/>
                <a:gd name="T7" fmla="*/ 24 h 34"/>
                <a:gd name="T8" fmla="*/ 37 w 37"/>
                <a:gd name="T9" fmla="*/ 0 h 34"/>
                <a:gd name="T10" fmla="*/ 4 w 37"/>
                <a:gd name="T11" fmla="*/ 26 h 34"/>
                <a:gd name="T12" fmla="*/ 20 w 37"/>
                <a:gd name="T13" fmla="*/ 11 h 34"/>
                <a:gd name="T14" fmla="*/ 0 w 37"/>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4">
                  <a:moveTo>
                    <a:pt x="0" y="34"/>
                  </a:moveTo>
                  <a:cubicBezTo>
                    <a:pt x="0" y="34"/>
                    <a:pt x="0" y="34"/>
                    <a:pt x="2" y="34"/>
                  </a:cubicBezTo>
                  <a:cubicBezTo>
                    <a:pt x="2" y="33"/>
                    <a:pt x="6" y="27"/>
                    <a:pt x="6" y="27"/>
                  </a:cubicBezTo>
                  <a:cubicBezTo>
                    <a:pt x="6" y="27"/>
                    <a:pt x="15" y="33"/>
                    <a:pt x="23" y="24"/>
                  </a:cubicBezTo>
                  <a:cubicBezTo>
                    <a:pt x="32" y="14"/>
                    <a:pt x="26" y="7"/>
                    <a:pt x="37" y="0"/>
                  </a:cubicBezTo>
                  <a:cubicBezTo>
                    <a:pt x="9" y="6"/>
                    <a:pt x="4" y="15"/>
                    <a:pt x="4" y="26"/>
                  </a:cubicBezTo>
                  <a:cubicBezTo>
                    <a:pt x="7" y="21"/>
                    <a:pt x="14" y="14"/>
                    <a:pt x="20" y="11"/>
                  </a:cubicBezTo>
                  <a:cubicBezTo>
                    <a:pt x="9" y="18"/>
                    <a:pt x="3" y="29"/>
                    <a:pt x="0" y="34"/>
                  </a:cubicBezTo>
                  <a:close/>
                </a:path>
              </a:pathLst>
            </a:custGeom>
            <a:solidFill>
              <a:srgbClr val="E1491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2" name="组合 1"/>
          <p:cNvGrpSpPr/>
          <p:nvPr/>
        </p:nvGrpSpPr>
        <p:grpSpPr>
          <a:xfrm>
            <a:off x="1643867" y="1693863"/>
            <a:ext cx="1273175" cy="969963"/>
            <a:chOff x="1643867" y="1693863"/>
            <a:chExt cx="1273175" cy="969963"/>
          </a:xfrm>
        </p:grpSpPr>
        <p:sp>
          <p:nvSpPr>
            <p:cNvPr id="182" name="Freeform 56"/>
            <p:cNvSpPr/>
            <p:nvPr/>
          </p:nvSpPr>
          <p:spPr bwMode="auto">
            <a:xfrm>
              <a:off x="1643867" y="2032001"/>
              <a:ext cx="1273175" cy="631825"/>
            </a:xfrm>
            <a:custGeom>
              <a:avLst/>
              <a:gdLst>
                <a:gd name="T0" fmla="*/ 60 w 121"/>
                <a:gd name="T1" fmla="*/ 0 h 60"/>
                <a:gd name="T2" fmla="*/ 49 w 121"/>
                <a:gd name="T3" fmla="*/ 14 h 60"/>
                <a:gd name="T4" fmla="*/ 0 w 121"/>
                <a:gd name="T5" fmla="*/ 38 h 60"/>
                <a:gd name="T6" fmla="*/ 21 w 121"/>
                <a:gd name="T7" fmla="*/ 60 h 60"/>
                <a:gd name="T8" fmla="*/ 61 w 121"/>
                <a:gd name="T9" fmla="*/ 44 h 60"/>
                <a:gd name="T10" fmla="*/ 100 w 121"/>
                <a:gd name="T11" fmla="*/ 58 h 60"/>
                <a:gd name="T12" fmla="*/ 121 w 121"/>
                <a:gd name="T13" fmla="*/ 36 h 60"/>
                <a:gd name="T14" fmla="*/ 71 w 121"/>
                <a:gd name="T15" fmla="*/ 14 h 60"/>
                <a:gd name="T16" fmla="*/ 60 w 12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60">
                  <a:moveTo>
                    <a:pt x="60" y="0"/>
                  </a:moveTo>
                  <a:cubicBezTo>
                    <a:pt x="49" y="14"/>
                    <a:pt x="49" y="14"/>
                    <a:pt x="49" y="14"/>
                  </a:cubicBezTo>
                  <a:cubicBezTo>
                    <a:pt x="30" y="17"/>
                    <a:pt x="13" y="25"/>
                    <a:pt x="0" y="38"/>
                  </a:cubicBezTo>
                  <a:cubicBezTo>
                    <a:pt x="21" y="60"/>
                    <a:pt x="21" y="60"/>
                    <a:pt x="21" y="60"/>
                  </a:cubicBezTo>
                  <a:cubicBezTo>
                    <a:pt x="32" y="50"/>
                    <a:pt x="46" y="44"/>
                    <a:pt x="61" y="44"/>
                  </a:cubicBezTo>
                  <a:cubicBezTo>
                    <a:pt x="76" y="44"/>
                    <a:pt x="89" y="49"/>
                    <a:pt x="100" y="58"/>
                  </a:cubicBezTo>
                  <a:cubicBezTo>
                    <a:pt x="121" y="36"/>
                    <a:pt x="121" y="36"/>
                    <a:pt x="121" y="36"/>
                  </a:cubicBezTo>
                  <a:cubicBezTo>
                    <a:pt x="107" y="24"/>
                    <a:pt x="90" y="16"/>
                    <a:pt x="71" y="14"/>
                  </a:cubicBezTo>
                  <a:lnTo>
                    <a:pt x="60" y="0"/>
                  </a:lnTo>
                  <a:close/>
                </a:path>
              </a:pathLst>
            </a:custGeom>
            <a:solidFill>
              <a:srgbClr val="EBAA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189" name="Freeform 63"/>
            <p:cNvSpPr/>
            <p:nvPr/>
          </p:nvSpPr>
          <p:spPr bwMode="auto">
            <a:xfrm>
              <a:off x="2116942" y="1693863"/>
              <a:ext cx="315913" cy="274638"/>
            </a:xfrm>
            <a:custGeom>
              <a:avLst/>
              <a:gdLst>
                <a:gd name="T0" fmla="*/ 15 w 30"/>
                <a:gd name="T1" fmla="*/ 6 h 26"/>
                <a:gd name="T2" fmla="*/ 8 w 30"/>
                <a:gd name="T3" fmla="*/ 0 h 26"/>
                <a:gd name="T4" fmla="*/ 1 w 30"/>
                <a:gd name="T5" fmla="*/ 9 h 26"/>
                <a:gd name="T6" fmla="*/ 15 w 30"/>
                <a:gd name="T7" fmla="*/ 26 h 26"/>
                <a:gd name="T8" fmla="*/ 29 w 30"/>
                <a:gd name="T9" fmla="*/ 9 h 26"/>
                <a:gd name="T10" fmla="*/ 23 w 30"/>
                <a:gd name="T11" fmla="*/ 0 h 26"/>
                <a:gd name="T12" fmla="*/ 15 w 30"/>
                <a:gd name="T13" fmla="*/ 6 h 26"/>
              </a:gdLst>
              <a:ahLst/>
              <a:cxnLst>
                <a:cxn ang="0">
                  <a:pos x="T0" y="T1"/>
                </a:cxn>
                <a:cxn ang="0">
                  <a:pos x="T2" y="T3"/>
                </a:cxn>
                <a:cxn ang="0">
                  <a:pos x="T4" y="T5"/>
                </a:cxn>
                <a:cxn ang="0">
                  <a:pos x="T6" y="T7"/>
                </a:cxn>
                <a:cxn ang="0">
                  <a:pos x="T8" y="T9"/>
                </a:cxn>
                <a:cxn ang="0">
                  <a:pos x="T10" y="T11"/>
                </a:cxn>
                <a:cxn ang="0">
                  <a:pos x="T12" y="T13"/>
                </a:cxn>
              </a:cxnLst>
              <a:rect l="0" t="0" r="r" b="b"/>
              <a:pathLst>
                <a:path w="30" h="26">
                  <a:moveTo>
                    <a:pt x="15" y="6"/>
                  </a:moveTo>
                  <a:cubicBezTo>
                    <a:pt x="14" y="2"/>
                    <a:pt x="11" y="0"/>
                    <a:pt x="8" y="0"/>
                  </a:cubicBezTo>
                  <a:cubicBezTo>
                    <a:pt x="2" y="0"/>
                    <a:pt x="0" y="4"/>
                    <a:pt x="1" y="9"/>
                  </a:cubicBezTo>
                  <a:cubicBezTo>
                    <a:pt x="1" y="15"/>
                    <a:pt x="9" y="19"/>
                    <a:pt x="15" y="26"/>
                  </a:cubicBezTo>
                  <a:cubicBezTo>
                    <a:pt x="20" y="19"/>
                    <a:pt x="29" y="15"/>
                    <a:pt x="29" y="9"/>
                  </a:cubicBezTo>
                  <a:cubicBezTo>
                    <a:pt x="30" y="4"/>
                    <a:pt x="28" y="1"/>
                    <a:pt x="23" y="0"/>
                  </a:cubicBezTo>
                  <a:cubicBezTo>
                    <a:pt x="19" y="0"/>
                    <a:pt x="16" y="2"/>
                    <a:pt x="15" y="6"/>
                  </a:cubicBezTo>
                  <a:close/>
                </a:path>
              </a:pathLst>
            </a:custGeom>
            <a:solidFill>
              <a:srgbClr val="EBAA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grpSp>
      <p:sp>
        <p:nvSpPr>
          <p:cNvPr id="27" name="Freeform 223"/>
          <p:cNvSpPr/>
          <p:nvPr/>
        </p:nvSpPr>
        <p:spPr bwMode="auto">
          <a:xfrm>
            <a:off x="467530" y="3348038"/>
            <a:ext cx="20638" cy="73025"/>
          </a:xfrm>
          <a:custGeom>
            <a:avLst/>
            <a:gdLst>
              <a:gd name="T0" fmla="*/ 0 w 13"/>
              <a:gd name="T1" fmla="*/ 46 h 46"/>
              <a:gd name="T2" fmla="*/ 0 w 13"/>
              <a:gd name="T3" fmla="*/ 0 h 46"/>
              <a:gd name="T4" fmla="*/ 0 w 13"/>
              <a:gd name="T5" fmla="*/ 0 h 46"/>
              <a:gd name="T6" fmla="*/ 0 w 13"/>
              <a:gd name="T7" fmla="*/ 46 h 46"/>
              <a:gd name="T8" fmla="*/ 13 w 13"/>
              <a:gd name="T9" fmla="*/ 46 h 46"/>
              <a:gd name="T10" fmla="*/ 13 w 13"/>
              <a:gd name="T11" fmla="*/ 46 h 46"/>
              <a:gd name="T12" fmla="*/ 0 w 13"/>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13" h="46">
                <a:moveTo>
                  <a:pt x="0" y="46"/>
                </a:moveTo>
                <a:lnTo>
                  <a:pt x="0" y="0"/>
                </a:lnTo>
                <a:lnTo>
                  <a:pt x="0" y="0"/>
                </a:lnTo>
                <a:lnTo>
                  <a:pt x="0" y="46"/>
                </a:lnTo>
                <a:lnTo>
                  <a:pt x="13" y="46"/>
                </a:lnTo>
                <a:lnTo>
                  <a:pt x="13" y="46"/>
                </a:lnTo>
                <a:lnTo>
                  <a:pt x="0" y="46"/>
                </a:lnTo>
                <a:close/>
              </a:path>
            </a:pathLst>
          </a:custGeom>
          <a:solidFill>
            <a:srgbClr val="3E3A39"/>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334" name="Rectangle 330"/>
          <p:cNvSpPr>
            <a:spLocks noChangeArrowheads="1"/>
          </p:cNvSpPr>
          <p:nvPr/>
        </p:nvSpPr>
        <p:spPr bwMode="auto">
          <a:xfrm>
            <a:off x="4716016" y="1381125"/>
            <a:ext cx="3806005" cy="45719"/>
          </a:xfrm>
          <a:prstGeom prst="rect">
            <a:avLst/>
          </a:prstGeom>
          <a:solidFill>
            <a:srgbClr val="686768"/>
          </a:solidFill>
          <a:ln w="9525">
            <a:noFill/>
            <a:miter lim="800000"/>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335" name="Rectangle 331"/>
          <p:cNvSpPr>
            <a:spLocks noChangeArrowheads="1"/>
          </p:cNvSpPr>
          <p:nvPr/>
        </p:nvSpPr>
        <p:spPr bwMode="auto">
          <a:xfrm>
            <a:off x="4716016" y="2876550"/>
            <a:ext cx="3806005" cy="45719"/>
          </a:xfrm>
          <a:prstGeom prst="rect">
            <a:avLst/>
          </a:prstGeom>
          <a:solidFill>
            <a:srgbClr val="686768"/>
          </a:solidFill>
          <a:ln w="9525">
            <a:noFill/>
            <a:miter lim="800000"/>
          </a:ln>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04" name="矩形 503"/>
          <p:cNvSpPr/>
          <p:nvPr/>
        </p:nvSpPr>
        <p:spPr>
          <a:xfrm>
            <a:off x="4674949" y="1653436"/>
            <a:ext cx="3775064" cy="978729"/>
          </a:xfrm>
          <a:prstGeom prst="rect">
            <a:avLst/>
          </a:prstGeom>
        </p:spPr>
        <p:txBody>
          <a:bodyPr wrap="square">
            <a:spAutoFit/>
          </a:bodyPr>
          <a:lstStyle/>
          <a:p>
            <a:pPr>
              <a:lnSpc>
                <a:spcPct val="120000"/>
              </a:lnSpc>
            </a:pPr>
            <a:r>
              <a:rPr lang="zh-CN" altLang="en-US" sz="1200" dirty="0">
                <a:latin typeface="方正兰亭超细黑简体" panose="02000000000000000000" pitchFamily="2" charset="-122"/>
                <a:ea typeface="方正兰亭超细黑简体" panose="02000000000000000000" pitchFamily="2" charset="-122"/>
              </a:rPr>
              <a:t>输入你的文本输入文本输入你的文本文本输入你的文本输入文本输入你的文本输入你的文本输入你的文本输入你的文本输入你的文本输入你的文本输入你的文本输入你的文本输入你的文本输入你的文本</a:t>
            </a:r>
          </a:p>
        </p:txBody>
      </p:sp>
      <p:sp>
        <p:nvSpPr>
          <p:cNvPr id="506" name="矩形 505"/>
          <p:cNvSpPr/>
          <p:nvPr/>
        </p:nvSpPr>
        <p:spPr>
          <a:xfrm>
            <a:off x="1414369" y="2852738"/>
            <a:ext cx="1728192" cy="286232"/>
          </a:xfrm>
          <a:prstGeom prst="rect">
            <a:avLst/>
          </a:prstGeom>
        </p:spPr>
        <p:txBody>
          <a:bodyPr wrap="square">
            <a:spAutoFit/>
          </a:bodyPr>
          <a:lstStyle/>
          <a:p>
            <a:pPr algn="ctr">
              <a:lnSpc>
                <a:spcPct val="120000"/>
              </a:lnSpc>
            </a:pPr>
            <a:r>
              <a:rPr lang="zh-CN" altLang="en-US" sz="1050" b="1" dirty="0">
                <a:solidFill>
                  <a:schemeClr val="tx1">
                    <a:lumMod val="75000"/>
                    <a:lumOff val="25000"/>
                  </a:schemeClr>
                </a:solidFill>
                <a:latin typeface="方正兰亭超细黑简体" panose="02000000000000000000" pitchFamily="2" charset="-122"/>
                <a:ea typeface="方正兰亭超细黑简体" panose="02000000000000000000" pitchFamily="2" charset="-122"/>
              </a:rPr>
              <a:t>输入你的文本输入</a:t>
            </a:r>
          </a:p>
        </p:txBody>
      </p:sp>
      <p:sp>
        <p:nvSpPr>
          <p:cNvPr id="507" name="矩形 506"/>
          <p:cNvSpPr/>
          <p:nvPr/>
        </p:nvSpPr>
        <p:spPr>
          <a:xfrm>
            <a:off x="1750832" y="3095626"/>
            <a:ext cx="1392619" cy="240066"/>
          </a:xfrm>
          <a:prstGeom prst="rect">
            <a:avLst/>
          </a:prstGeom>
        </p:spPr>
        <p:txBody>
          <a:bodyPr wrap="square">
            <a:spAutoFit/>
          </a:bodyPr>
          <a:lstStyle/>
          <a:p>
            <a:pPr>
              <a:lnSpc>
                <a:spcPct val="120000"/>
              </a:lnSpc>
            </a:pPr>
            <a:r>
              <a:rPr lang="zh-CN" altLang="en-US" sz="800" dirty="0">
                <a:latin typeface="方正兰亭超细黑简体" panose="02000000000000000000" pitchFamily="2" charset="-122"/>
                <a:ea typeface="方正兰亭超细黑简体" panose="02000000000000000000" pitchFamily="2" charset="-122"/>
              </a:rPr>
              <a:t>文本输入你的文本</a:t>
            </a:r>
          </a:p>
        </p:txBody>
      </p:sp>
      <p:grpSp>
        <p:nvGrpSpPr>
          <p:cNvPr id="8" name="组合 7"/>
          <p:cNvGrpSpPr/>
          <p:nvPr/>
        </p:nvGrpSpPr>
        <p:grpSpPr>
          <a:xfrm>
            <a:off x="5106541" y="3336141"/>
            <a:ext cx="1200836" cy="1146641"/>
            <a:chOff x="5106541" y="3336141"/>
            <a:chExt cx="1200836" cy="1146641"/>
          </a:xfrm>
        </p:grpSpPr>
        <p:sp>
          <p:nvSpPr>
            <p:cNvPr id="486" name="Oval 482"/>
            <p:cNvSpPr>
              <a:spLocks noChangeArrowheads="1"/>
            </p:cNvSpPr>
            <p:nvPr/>
          </p:nvSpPr>
          <p:spPr bwMode="auto">
            <a:xfrm>
              <a:off x="5106541" y="3336141"/>
              <a:ext cx="1135117" cy="1146641"/>
            </a:xfrm>
            <a:prstGeom prst="ellipse">
              <a:avLst/>
            </a:prstGeom>
            <a:solidFill>
              <a:srgbClr val="88BAB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12" name="文本框 511"/>
            <p:cNvSpPr txBox="1"/>
            <p:nvPr/>
          </p:nvSpPr>
          <p:spPr>
            <a:xfrm>
              <a:off x="5236059" y="3637266"/>
              <a:ext cx="1071318" cy="307777"/>
            </a:xfrm>
            <a:prstGeom prst="rect">
              <a:avLst/>
            </a:prstGeom>
            <a:noFill/>
          </p:spPr>
          <p:txBody>
            <a:bodyPr wrap="square" rtlCol="0">
              <a:spAutoFit/>
            </a:bodyPr>
            <a:lstStyle/>
            <a:p>
              <a:r>
                <a:rPr lang="en-US" altLang="zh-CN" sz="1400" dirty="0">
                  <a:solidFill>
                    <a:schemeClr val="bg1"/>
                  </a:solidFill>
                  <a:latin typeface="方正兰亭超细黑简体" panose="02000000000000000000" pitchFamily="2" charset="-122"/>
                  <a:ea typeface="方正兰亭超细黑简体" panose="02000000000000000000" pitchFamily="2" charset="-122"/>
                </a:rPr>
                <a:t>2012</a:t>
              </a:r>
              <a:endParaRPr lang="zh-CN" altLang="en-US" sz="1400" dirty="0">
                <a:solidFill>
                  <a:schemeClr val="bg1"/>
                </a:solidFill>
                <a:latin typeface="方正兰亭超细黑简体" panose="02000000000000000000" pitchFamily="2" charset="-122"/>
                <a:ea typeface="方正兰亭超细黑简体" panose="02000000000000000000" pitchFamily="2" charset="-122"/>
              </a:endParaRPr>
            </a:p>
          </p:txBody>
        </p:sp>
        <p:sp>
          <p:nvSpPr>
            <p:cNvPr id="513" name="椭圆 512"/>
            <p:cNvSpPr/>
            <p:nvPr/>
          </p:nvSpPr>
          <p:spPr>
            <a:xfrm>
              <a:off x="5372890" y="3615248"/>
              <a:ext cx="67034" cy="670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9" name="组合 8"/>
          <p:cNvGrpSpPr/>
          <p:nvPr/>
        </p:nvGrpSpPr>
        <p:grpSpPr>
          <a:xfrm>
            <a:off x="5459944" y="4042948"/>
            <a:ext cx="1248300" cy="1190816"/>
            <a:chOff x="5459944" y="4042948"/>
            <a:chExt cx="1248300" cy="1190816"/>
          </a:xfrm>
        </p:grpSpPr>
        <p:sp>
          <p:nvSpPr>
            <p:cNvPr id="487" name="Oval 483"/>
            <p:cNvSpPr>
              <a:spLocks noChangeArrowheads="1"/>
            </p:cNvSpPr>
            <p:nvPr/>
          </p:nvSpPr>
          <p:spPr bwMode="auto">
            <a:xfrm>
              <a:off x="5459944" y="4042948"/>
              <a:ext cx="1196578" cy="1190816"/>
            </a:xfrm>
            <a:prstGeom prst="ellipse">
              <a:avLst/>
            </a:prstGeom>
            <a:solidFill>
              <a:srgbClr val="5D824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10" name="文本框 509"/>
            <p:cNvSpPr txBox="1"/>
            <p:nvPr/>
          </p:nvSpPr>
          <p:spPr>
            <a:xfrm>
              <a:off x="5636926" y="4417442"/>
              <a:ext cx="1071318" cy="338554"/>
            </a:xfrm>
            <a:prstGeom prst="rect">
              <a:avLst/>
            </a:prstGeom>
            <a:noFill/>
          </p:spPr>
          <p:txBody>
            <a:bodyPr wrap="square" rtlCol="0">
              <a:spAutoFit/>
            </a:bodyPr>
            <a:lstStyle/>
            <a:p>
              <a:r>
                <a:rPr lang="en-US" altLang="zh-CN" sz="1600" dirty="0">
                  <a:solidFill>
                    <a:schemeClr val="bg1"/>
                  </a:solidFill>
                  <a:latin typeface="方正兰亭超细黑简体" panose="02000000000000000000" pitchFamily="2" charset="-122"/>
                  <a:ea typeface="方正兰亭超细黑简体" panose="02000000000000000000" pitchFamily="2" charset="-122"/>
                </a:rPr>
                <a:t>2013</a:t>
              </a:r>
              <a:endParaRPr lang="zh-CN" altLang="en-US" sz="1600" dirty="0">
                <a:solidFill>
                  <a:schemeClr val="bg1"/>
                </a:solidFill>
                <a:latin typeface="方正兰亭超细黑简体" panose="02000000000000000000" pitchFamily="2" charset="-122"/>
                <a:ea typeface="方正兰亭超细黑简体" panose="02000000000000000000" pitchFamily="2" charset="-122"/>
              </a:endParaRPr>
            </a:p>
          </p:txBody>
        </p:sp>
        <p:sp>
          <p:nvSpPr>
            <p:cNvPr id="511" name="椭圆 510"/>
            <p:cNvSpPr/>
            <p:nvPr/>
          </p:nvSpPr>
          <p:spPr>
            <a:xfrm>
              <a:off x="5773757" y="4395424"/>
              <a:ext cx="67034" cy="670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grpSp>
        <p:nvGrpSpPr>
          <p:cNvPr id="10" name="组合 9"/>
          <p:cNvGrpSpPr/>
          <p:nvPr/>
        </p:nvGrpSpPr>
        <p:grpSpPr>
          <a:xfrm>
            <a:off x="5963160" y="3276600"/>
            <a:ext cx="1415535" cy="1427059"/>
            <a:chOff x="5963160" y="3276600"/>
            <a:chExt cx="1415535" cy="1427059"/>
          </a:xfrm>
        </p:grpSpPr>
        <p:sp>
          <p:nvSpPr>
            <p:cNvPr id="493" name="Oval 489"/>
            <p:cNvSpPr>
              <a:spLocks noChangeArrowheads="1"/>
            </p:cNvSpPr>
            <p:nvPr/>
          </p:nvSpPr>
          <p:spPr bwMode="auto">
            <a:xfrm>
              <a:off x="5963160" y="3276600"/>
              <a:ext cx="1415535" cy="1427059"/>
            </a:xfrm>
            <a:prstGeom prst="ellipse">
              <a:avLst/>
            </a:prstGeom>
            <a:solidFill>
              <a:srgbClr val="EBAA0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方正兰亭超细黑简体" panose="02000000000000000000" pitchFamily="2" charset="-122"/>
                <a:ea typeface="方正兰亭超细黑简体" panose="02000000000000000000" pitchFamily="2" charset="-122"/>
              </a:endParaRPr>
            </a:p>
          </p:txBody>
        </p:sp>
        <p:sp>
          <p:nvSpPr>
            <p:cNvPr id="508" name="文本框 507"/>
            <p:cNvSpPr txBox="1"/>
            <p:nvPr/>
          </p:nvSpPr>
          <p:spPr>
            <a:xfrm>
              <a:off x="6307377" y="3584060"/>
              <a:ext cx="1071318" cy="369332"/>
            </a:xfrm>
            <a:prstGeom prst="rect">
              <a:avLst/>
            </a:prstGeom>
            <a:noFill/>
          </p:spPr>
          <p:txBody>
            <a:bodyPr wrap="square" rtlCol="0">
              <a:spAutoFit/>
            </a:bodyPr>
            <a:lstStyle/>
            <a:p>
              <a:r>
                <a:rPr lang="en-US" altLang="zh-CN" dirty="0">
                  <a:solidFill>
                    <a:schemeClr val="bg1"/>
                  </a:solidFill>
                  <a:latin typeface="方正兰亭超细黑简体" panose="02000000000000000000" pitchFamily="2" charset="-122"/>
                  <a:ea typeface="方正兰亭超细黑简体" panose="02000000000000000000" pitchFamily="2" charset="-122"/>
                </a:rPr>
                <a:t>2014</a:t>
              </a:r>
              <a:endParaRPr lang="zh-CN" altLang="en-US" dirty="0">
                <a:solidFill>
                  <a:schemeClr val="bg1"/>
                </a:solidFill>
                <a:latin typeface="方正兰亭超细黑简体" panose="02000000000000000000" pitchFamily="2" charset="-122"/>
                <a:ea typeface="方正兰亭超细黑简体" panose="02000000000000000000" pitchFamily="2" charset="-122"/>
              </a:endParaRPr>
            </a:p>
          </p:txBody>
        </p:sp>
        <p:sp>
          <p:nvSpPr>
            <p:cNvPr id="509" name="椭圆 508"/>
            <p:cNvSpPr/>
            <p:nvPr/>
          </p:nvSpPr>
          <p:spPr>
            <a:xfrm>
              <a:off x="6444208" y="3562042"/>
              <a:ext cx="67034" cy="670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方正兰亭超细黑简体" panose="02000000000000000000" pitchFamily="2" charset="-122"/>
                <a:ea typeface="方正兰亭超细黑简体" panose="02000000000000000000" pitchFamily="2"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5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25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5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50"/>
                                        <p:tgtEl>
                                          <p:spTgt spid="6"/>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504"/>
                                        </p:tgtEl>
                                        <p:attrNameLst>
                                          <p:attrName>style.visibility</p:attrName>
                                        </p:attrNameLst>
                                      </p:cBhvr>
                                      <p:to>
                                        <p:strVal val="visible"/>
                                      </p:to>
                                    </p:set>
                                    <p:animEffect transition="in" filter="wipe(up)">
                                      <p:cBhvr>
                                        <p:cTn id="23" dur="500"/>
                                        <p:tgtEl>
                                          <p:spTgt spid="504"/>
                                        </p:tgtEl>
                                      </p:cBhvr>
                                    </p:animEffect>
                                  </p:childTnLst>
                                </p:cTn>
                              </p:par>
                            </p:childTnLst>
                          </p:cTn>
                        </p:par>
                        <p:par>
                          <p:cTn id="24" fill="hold">
                            <p:stCondLst>
                              <p:cond delay="2500"/>
                            </p:stCondLst>
                            <p:childTnLst>
                              <p:par>
                                <p:cTn id="25" presetID="2" presetClass="entr" presetSubtype="2" fill="hold" grpId="0" nodeType="afterEffect">
                                  <p:stCondLst>
                                    <p:cond delay="0"/>
                                  </p:stCondLst>
                                  <p:childTnLst>
                                    <p:set>
                                      <p:cBhvr>
                                        <p:cTn id="26" dur="1" fill="hold">
                                          <p:stCondLst>
                                            <p:cond delay="0"/>
                                          </p:stCondLst>
                                        </p:cTn>
                                        <p:tgtEl>
                                          <p:spTgt spid="334"/>
                                        </p:tgtEl>
                                        <p:attrNameLst>
                                          <p:attrName>style.visibility</p:attrName>
                                        </p:attrNameLst>
                                      </p:cBhvr>
                                      <p:to>
                                        <p:strVal val="visible"/>
                                      </p:to>
                                    </p:set>
                                    <p:anim calcmode="lin" valueType="num">
                                      <p:cBhvr additive="base">
                                        <p:cTn id="27" dur="500" fill="hold"/>
                                        <p:tgtEl>
                                          <p:spTgt spid="334"/>
                                        </p:tgtEl>
                                        <p:attrNameLst>
                                          <p:attrName>ppt_x</p:attrName>
                                        </p:attrNameLst>
                                      </p:cBhvr>
                                      <p:tavLst>
                                        <p:tav tm="0">
                                          <p:val>
                                            <p:strVal val="1+#ppt_w/2"/>
                                          </p:val>
                                        </p:tav>
                                        <p:tav tm="100000">
                                          <p:val>
                                            <p:strVal val="#ppt_x"/>
                                          </p:val>
                                        </p:tav>
                                      </p:tavLst>
                                    </p:anim>
                                    <p:anim calcmode="lin" valueType="num">
                                      <p:cBhvr additive="base">
                                        <p:cTn id="28" dur="500" fill="hold"/>
                                        <p:tgtEl>
                                          <p:spTgt spid="334"/>
                                        </p:tgtEl>
                                        <p:attrNameLst>
                                          <p:attrName>ppt_y</p:attrName>
                                        </p:attrNameLst>
                                      </p:cBhvr>
                                      <p:tavLst>
                                        <p:tav tm="0">
                                          <p:val>
                                            <p:strVal val="#ppt_y"/>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35"/>
                                        </p:tgtEl>
                                        <p:attrNameLst>
                                          <p:attrName>style.visibility</p:attrName>
                                        </p:attrNameLst>
                                      </p:cBhvr>
                                      <p:to>
                                        <p:strVal val="visible"/>
                                      </p:to>
                                    </p:set>
                                    <p:anim calcmode="lin" valueType="num">
                                      <p:cBhvr additive="base">
                                        <p:cTn id="31" dur="500" fill="hold"/>
                                        <p:tgtEl>
                                          <p:spTgt spid="335"/>
                                        </p:tgtEl>
                                        <p:attrNameLst>
                                          <p:attrName>ppt_x</p:attrName>
                                        </p:attrNameLst>
                                      </p:cBhvr>
                                      <p:tavLst>
                                        <p:tav tm="0">
                                          <p:val>
                                            <p:strVal val="#ppt_x"/>
                                          </p:val>
                                        </p:tav>
                                        <p:tav tm="100000">
                                          <p:val>
                                            <p:strVal val="#ppt_x"/>
                                          </p:val>
                                        </p:tav>
                                      </p:tavLst>
                                    </p:anim>
                                    <p:anim calcmode="lin" valueType="num">
                                      <p:cBhvr additive="base">
                                        <p:cTn id="32" dur="500" fill="hold"/>
                                        <p:tgtEl>
                                          <p:spTgt spid="335"/>
                                        </p:tgtEl>
                                        <p:attrNameLst>
                                          <p:attrName>ppt_y</p:attrName>
                                        </p:attrNameLst>
                                      </p:cBhvr>
                                      <p:tavLst>
                                        <p:tav tm="0">
                                          <p:val>
                                            <p:strVal val="1+#ppt_h/2"/>
                                          </p:val>
                                        </p:tav>
                                        <p:tav tm="100000">
                                          <p:val>
                                            <p:strVal val="#ppt_y"/>
                                          </p:val>
                                        </p:tav>
                                      </p:tavLst>
                                    </p:anim>
                                  </p:childTnLst>
                                </p:cTn>
                              </p:par>
                            </p:childTnLst>
                          </p:cTn>
                        </p:par>
                        <p:par>
                          <p:cTn id="33" fill="hold">
                            <p:stCondLst>
                              <p:cond delay="3000"/>
                            </p:stCondLst>
                            <p:childTnLst>
                              <p:par>
                                <p:cTn id="34" presetID="10" presetClass="entr" presetSubtype="0" fill="hold" nodeType="after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childTnLst>
                          </p:cTn>
                        </p:par>
                        <p:par>
                          <p:cTn id="37" fill="hold">
                            <p:stCondLst>
                              <p:cond delay="3500"/>
                            </p:stCondLst>
                            <p:childTnLst>
                              <p:par>
                                <p:cTn id="38" presetID="10" presetClass="entr" presetSubtype="0" fill="hold" nodeType="after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childTnLst>
                          </p:cTn>
                        </p:par>
                        <p:par>
                          <p:cTn id="41" fill="hold">
                            <p:stCondLst>
                              <p:cond delay="4000"/>
                            </p:stCondLst>
                            <p:childTnLst>
                              <p:par>
                                <p:cTn id="42" presetID="10" presetClass="entr" presetSubtype="0" fill="hold" nodeType="after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4" grpId="0" animBg="1"/>
      <p:bldP spid="335" grpId="0" animBg="1"/>
      <p:bldP spid="50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bBcNRQAk.H0meG5xY23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50</Words>
  <Application>Microsoft Office PowerPoint</Application>
  <PresentationFormat>全屏显示(16:10)</PresentationFormat>
  <Paragraphs>107</Paragraphs>
  <Slides>13</Slides>
  <Notes>1</Notes>
  <HiddenSlides>0</HiddenSlides>
  <MMClips>0</MMClips>
  <ScaleCrop>false</ScaleCrop>
  <HeadingPairs>
    <vt:vector size="6" baseType="variant">
      <vt:variant>
        <vt:lpstr>已用的字体</vt:lpstr>
      </vt:variant>
      <vt:variant>
        <vt:i4>5</vt:i4>
      </vt:variant>
      <vt:variant>
        <vt:lpstr>主题</vt:lpstr>
      </vt:variant>
      <vt:variant>
        <vt:i4>1</vt:i4>
      </vt:variant>
      <vt:variant>
        <vt:lpstr>幻灯片标题</vt:lpstr>
      </vt:variant>
      <vt:variant>
        <vt:i4>13</vt:i4>
      </vt:variant>
    </vt:vector>
  </HeadingPairs>
  <TitlesOfParts>
    <vt:vector size="19" baseType="lpstr">
      <vt:lpstr>.黑体-日本语</vt:lpstr>
      <vt:lpstr>方正大黑简体</vt:lpstr>
      <vt:lpstr>方正兰亭超细黑简体</vt:lpstr>
      <vt:lpstr>Arial</vt:lpstr>
      <vt:lpstr>Calibri</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958.简洁扁平商务总结模板</dc:title>
  <dc:creator/>
  <cp:lastModifiedBy>天 下</cp:lastModifiedBy>
  <cp:revision>27</cp:revision>
  <dcterms:created xsi:type="dcterms:W3CDTF">2014-08-07T02:25:00Z</dcterms:created>
  <dcterms:modified xsi:type="dcterms:W3CDTF">2021-01-05T00:0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208</vt:lpwstr>
  </property>
</Properties>
</file>